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80" r:id="rId3"/>
  </p:sldMasterIdLst>
  <p:notesMasterIdLst>
    <p:notesMasterId r:id="rId14"/>
  </p:notesMasterIdLst>
  <p:sldIdLst>
    <p:sldId id="256" r:id="rId4"/>
    <p:sldId id="1550" r:id="rId5"/>
    <p:sldId id="1548" r:id="rId6"/>
    <p:sldId id="1549" r:id="rId7"/>
    <p:sldId id="1551" r:id="rId8"/>
    <p:sldId id="1553" r:id="rId9"/>
    <p:sldId id="1552" r:id="rId10"/>
    <p:sldId id="1556" r:id="rId11"/>
    <p:sldId id="1557" r:id="rId12"/>
    <p:sldId id="1545" r:id="rId13"/>
  </p:sldIdLst>
  <p:sldSz cx="12192000" cy="6858000"/>
  <p:notesSz cx="9926638" cy="67976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720" userDrawn="1">
          <p15:clr>
            <a:srgbClr val="A4A3A4"/>
          </p15:clr>
        </p15:guide>
        <p15:guide id="4" pos="6864" userDrawn="1">
          <p15:clr>
            <a:srgbClr val="A4A3A4"/>
          </p15:clr>
        </p15:guide>
        <p15:guide id="5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1F497D"/>
    <a:srgbClr val="ED7D31"/>
    <a:srgbClr val="FFEFFB"/>
    <a:srgbClr val="FFFBFE"/>
    <a:srgbClr val="FFEFEF"/>
    <a:srgbClr val="FFDDDD"/>
    <a:srgbClr val="F8EDEC"/>
    <a:srgbClr val="FFD1FF"/>
    <a:srgbClr val="F2DB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>
      <p:cViewPr varScale="1">
        <p:scale>
          <a:sx n="70" d="100"/>
          <a:sy n="70" d="100"/>
        </p:scale>
        <p:origin x="738" y="72"/>
      </p:cViewPr>
      <p:guideLst>
        <p:guide orient="horz" pos="3072"/>
        <p:guide pos="720"/>
        <p:guide pos="6864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003226209775986E-2"/>
          <c:y val="2.8952947511474654E-2"/>
          <c:w val="0.95262207533732546"/>
          <c:h val="0.887917930636759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pulation Per Million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94-4CC8-A48C-30759325775C}"/>
              </c:ext>
            </c:extLst>
          </c:dPt>
          <c:dPt>
            <c:idx val="1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7C0-B94D-8D9B-53545292D7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Chile</c:v>
                </c:pt>
                <c:pt idx="1">
                  <c:v>Peru</c:v>
                </c:pt>
                <c:pt idx="2">
                  <c:v>Spain</c:v>
                </c:pt>
                <c:pt idx="3">
                  <c:v>Itay</c:v>
                </c:pt>
                <c:pt idx="4">
                  <c:v>UK</c:v>
                </c:pt>
                <c:pt idx="5">
                  <c:v>Iran</c:v>
                </c:pt>
                <c:pt idx="6">
                  <c:v>Mexico</c:v>
                </c:pt>
                <c:pt idx="7">
                  <c:v>Russia</c:v>
                </c:pt>
                <c:pt idx="8">
                  <c:v>Brazil</c:v>
                </c:pt>
                <c:pt idx="9">
                  <c:v>USA</c:v>
                </c:pt>
                <c:pt idx="10">
                  <c:v>India</c:v>
                </c:pt>
              </c:strCache>
            </c:strRef>
          </c:cat>
          <c:val>
            <c:numRef>
              <c:f>Sheet1!$B$2:$B$12</c:f>
              <c:numCache>
                <c:formatCode>_ * #,##0_ ;_ * \-#,##0_ ;_ * "-"??_ ;_ @_ </c:formatCode>
                <c:ptCount val="11"/>
                <c:pt idx="0">
                  <c:v>19.116201</c:v>
                </c:pt>
                <c:pt idx="1">
                  <c:v>32.971854</c:v>
                </c:pt>
                <c:pt idx="2">
                  <c:v>46.754778000000002</c:v>
                </c:pt>
                <c:pt idx="3">
                  <c:v>60.461826000000002</c:v>
                </c:pt>
                <c:pt idx="4">
                  <c:v>67.886010999999996</c:v>
                </c:pt>
                <c:pt idx="5">
                  <c:v>83.992948999999996</c:v>
                </c:pt>
                <c:pt idx="6">
                  <c:v>128.93275299999999</c:v>
                </c:pt>
                <c:pt idx="7">
                  <c:v>145.934462</c:v>
                </c:pt>
                <c:pt idx="8">
                  <c:v>212.559417</c:v>
                </c:pt>
                <c:pt idx="9">
                  <c:v>331.00265100000001</c:v>
                </c:pt>
                <c:pt idx="10">
                  <c:v>1380.0043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093-4FBF-9ECD-963D33B8E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overlap val="-27"/>
        <c:axId val="160558304"/>
        <c:axId val="160556128"/>
      </c:barChart>
      <c:catAx>
        <c:axId val="160558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6128"/>
        <c:crosses val="autoZero"/>
        <c:auto val="1"/>
        <c:lblAlgn val="ctr"/>
        <c:lblOffset val="100"/>
        <c:noMultiLvlLbl val="0"/>
      </c:catAx>
      <c:valAx>
        <c:axId val="160556128"/>
        <c:scaling>
          <c:orientation val="minMax"/>
          <c:max val="1500"/>
          <c:min val="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8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04026041939118E-2"/>
          <c:y val="4.086193320265686E-2"/>
          <c:w val="0.95262207533732546"/>
          <c:h val="0.778245292060120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ses per Million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94-4CC8-A48C-30759325775C}"/>
              </c:ext>
            </c:extLst>
          </c:dPt>
          <c:dPt>
            <c:idx val="1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7C0-B94D-8D9B-53545292D7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World</c:v>
                </c:pt>
                <c:pt idx="1">
                  <c:v>India</c:v>
                </c:pt>
                <c:pt idx="2">
                  <c:v>Mexico</c:v>
                </c:pt>
                <c:pt idx="3">
                  <c:v>Iran</c:v>
                </c:pt>
                <c:pt idx="4">
                  <c:v>UK</c:v>
                </c:pt>
                <c:pt idx="5">
                  <c:v>Russia</c:v>
                </c:pt>
                <c:pt idx="6">
                  <c:v>Spain</c:v>
                </c:pt>
                <c:pt idx="7">
                  <c:v>Brazil</c:v>
                </c:pt>
                <c:pt idx="8">
                  <c:v>USA</c:v>
                </c:pt>
                <c:pt idx="9">
                  <c:v>Peru</c:v>
                </c:pt>
                <c:pt idx="10">
                  <c:v>Chile</c:v>
                </c:pt>
              </c:strCache>
            </c:strRef>
          </c:cat>
          <c:val>
            <c:numRef>
              <c:f>Sheet1!$B$2:$B$12</c:f>
              <c:numCache>
                <c:formatCode>_ * #,##0_ ;_ * \-#,##0_ ;_ * "-"??_ ;_ @_ </c:formatCode>
                <c:ptCount val="11"/>
                <c:pt idx="0">
                  <c:v>1497.0571262622566</c:v>
                </c:pt>
                <c:pt idx="1">
                  <c:v>537.9816238772313</c:v>
                </c:pt>
                <c:pt idx="2">
                  <c:v>2030.1280621844785</c:v>
                </c:pt>
                <c:pt idx="3">
                  <c:v>2925.1026773687872</c:v>
                </c:pt>
                <c:pt idx="4">
                  <c:v>4218.1444421590777</c:v>
                </c:pt>
                <c:pt idx="5">
                  <c:v>4802.1008224911266</c:v>
                </c:pt>
                <c:pt idx="6">
                  <c:v>5392.6039387888868</c:v>
                </c:pt>
                <c:pt idx="7">
                  <c:v>7636.8481947802857</c:v>
                </c:pt>
                <c:pt idx="8">
                  <c:v>8832.050109471782</c:v>
                </c:pt>
                <c:pt idx="9">
                  <c:v>9271.6351346211832</c:v>
                </c:pt>
                <c:pt idx="10">
                  <c:v>15746.8003187453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093-4FBF-9ECD-963D33B8E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overlap val="-27"/>
        <c:axId val="248731184"/>
        <c:axId val="107780480"/>
      </c:barChart>
      <c:catAx>
        <c:axId val="24873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80480"/>
        <c:crosses val="autoZero"/>
        <c:auto val="1"/>
        <c:lblAlgn val="ctr"/>
        <c:lblOffset val="100"/>
        <c:noMultiLvlLbl val="0"/>
      </c:catAx>
      <c:valAx>
        <c:axId val="107780480"/>
        <c:scaling>
          <c:orientation val="minMax"/>
          <c:max val="180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73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04026041939118E-2"/>
          <c:y val="4.086193320265686E-2"/>
          <c:w val="0.95262207533732546"/>
          <c:h val="0.778245292060120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aths per Lakh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94-4CC8-A48C-30759325775C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7C0-B94D-8D9B-53545292D7F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World</c:v>
                </c:pt>
                <c:pt idx="1">
                  <c:v>India</c:v>
                </c:pt>
                <c:pt idx="2">
                  <c:v>Iran</c:v>
                </c:pt>
                <c:pt idx="3">
                  <c:v>Mexico</c:v>
                </c:pt>
                <c:pt idx="4">
                  <c:v>Brazil</c:v>
                </c:pt>
                <c:pt idx="5">
                  <c:v>Peru</c:v>
                </c:pt>
                <c:pt idx="6">
                  <c:v>USA</c:v>
                </c:pt>
                <c:pt idx="7">
                  <c:v>France</c:v>
                </c:pt>
                <c:pt idx="8">
                  <c:v>Italy</c:v>
                </c:pt>
                <c:pt idx="9">
                  <c:v>Spain</c:v>
                </c:pt>
                <c:pt idx="10">
                  <c:v>UK</c:v>
                </c:pt>
              </c:strCache>
            </c:strRef>
          </c:cat>
          <c:val>
            <c:numRef>
              <c:f>Sheet1!$B$2:$B$12</c:f>
              <c:numCache>
                <c:formatCode>_ * #,##0.0_ ;_ * \-#,##0.0_ ;_ * "-"??_ ;_ @_ </c:formatCode>
                <c:ptCount val="11"/>
                <c:pt idx="0">
                  <c:v>69.264905750377963</c:v>
                </c:pt>
                <c:pt idx="1">
                  <c:v>14.957923485148926</c:v>
                </c:pt>
                <c:pt idx="2">
                  <c:v>142.04763783207565</c:v>
                </c:pt>
                <c:pt idx="3">
                  <c:v>241.3583769517432</c:v>
                </c:pt>
                <c:pt idx="4">
                  <c:v>308.08797335005863</c:v>
                </c:pt>
                <c:pt idx="5">
                  <c:v>326.70289028939652</c:v>
                </c:pt>
                <c:pt idx="6">
                  <c:v>392.63431760248955</c:v>
                </c:pt>
                <c:pt idx="7">
                  <c:v>457.19924580125615</c:v>
                </c:pt>
                <c:pt idx="8">
                  <c:v>577.20717862540243</c:v>
                </c:pt>
                <c:pt idx="9">
                  <c:v>607.25344477092801</c:v>
                </c:pt>
                <c:pt idx="10">
                  <c:v>653.904970200708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093-4FBF-9ECD-963D33B8E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overlap val="-27"/>
        <c:axId val="160557760"/>
        <c:axId val="160551232"/>
      </c:barChart>
      <c:catAx>
        <c:axId val="160557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1232"/>
        <c:crosses val="autoZero"/>
        <c:auto val="1"/>
        <c:lblAlgn val="ctr"/>
        <c:lblOffset val="100"/>
        <c:noMultiLvlLbl val="0"/>
      </c:catAx>
      <c:valAx>
        <c:axId val="160551232"/>
        <c:scaling>
          <c:orientation val="minMax"/>
          <c:max val="8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57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249488725017478E-2"/>
          <c:y val="3.2377414644283703E-2"/>
          <c:w val="0.86499887336377212"/>
          <c:h val="0.8307109006664756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covered</c:v>
                </c:pt>
              </c:strCache>
            </c:strRef>
          </c:tx>
          <c:spPr>
            <a:ln w="28575" cap="rnd">
              <a:solidFill>
                <a:srgbClr val="54823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1F497D"/>
              </a:solidFill>
              <a:ln w="9525">
                <a:solidFill>
                  <a:srgbClr val="548235"/>
                </a:solidFill>
              </a:ln>
              <a:effectLst/>
            </c:spPr>
          </c:marker>
          <c:dLbls>
            <c:dLbl>
              <c:idx val="42"/>
              <c:layout>
                <c:manualLayout>
                  <c:x val="-9.2266660856934954E-2"/>
                  <c:y val="-6.6202243161360405E-2"/>
                </c:manualLayout>
              </c:layout>
              <c:spPr>
                <a:solidFill>
                  <a:schemeClr val="accent6">
                    <a:lumMod val="20000"/>
                    <a:lumOff val="80000"/>
                    <a:alpha val="31000"/>
                  </a:schemeClr>
                </a:solidFill>
                <a:ln w="3175">
                  <a:solidFill>
                    <a:schemeClr val="accent6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6.6619265165526464E-2"/>
                    </c:manualLayout>
                  </c15:layout>
                </c:ext>
              </c:extLst>
            </c:dLbl>
            <c:dLbl>
              <c:idx val="49"/>
              <c:layout>
                <c:manualLayout>
                  <c:x val="-9.4445310281278297E-2"/>
                  <c:y val="-6.3995501722648479E-2"/>
                </c:manualLayout>
              </c:layout>
              <c:spPr>
                <a:solidFill>
                  <a:schemeClr val="accent6">
                    <a:lumMod val="20000"/>
                    <a:lumOff val="80000"/>
                    <a:alpha val="31000"/>
                  </a:schemeClr>
                </a:solidFill>
                <a:ln w="3175">
                  <a:solidFill>
                    <a:schemeClr val="accent6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6.6619265165526464E-2"/>
                    </c:manualLayout>
                  </c15:layout>
                </c:ext>
              </c:extLst>
            </c:dLbl>
            <c:dLbl>
              <c:idx val="56"/>
              <c:layout>
                <c:manualLayout>
                  <c:x val="-0.10340916605846046"/>
                  <c:y val="-8.9137063317145979E-2"/>
                </c:manualLayout>
              </c:layout>
              <c:spPr>
                <a:solidFill>
                  <a:schemeClr val="accent6">
                    <a:lumMod val="20000"/>
                    <a:lumOff val="80000"/>
                    <a:alpha val="31000"/>
                  </a:schemeClr>
                </a:solidFill>
                <a:ln w="3175">
                  <a:solidFill>
                    <a:schemeClr val="accent6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5.3378816533254374E-2"/>
                    </c:manualLayout>
                  </c15:layout>
                </c:ext>
              </c:extLst>
            </c:dLbl>
            <c:dLbl>
              <c:idx val="68"/>
              <c:layout>
                <c:manualLayout>
                  <c:x val="-2.3438407993962386E-2"/>
                  <c:y val="-8.4723406680553504E-2"/>
                </c:manualLayout>
              </c:layout>
              <c:spPr>
                <a:solidFill>
                  <a:schemeClr val="accent6">
                    <a:lumMod val="20000"/>
                    <a:lumOff val="80000"/>
                    <a:alpha val="31000"/>
                  </a:schemeClr>
                </a:solidFill>
                <a:ln w="3175">
                  <a:solidFill>
                    <a:schemeClr val="accent6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6.6619265165526464E-2"/>
                    </c:manualLayout>
                  </c15:layout>
                </c:ext>
              </c:extLst>
            </c:dLbl>
            <c:spPr>
              <a:solidFill>
                <a:schemeClr val="accent6">
                  <a:lumMod val="20000"/>
                  <a:lumOff val="80000"/>
                  <a:alpha val="31000"/>
                </a:schemeClr>
              </a:solidFill>
              <a:ln w="3175">
                <a:solidFill>
                  <a:schemeClr val="accent6"/>
                </a:solidFill>
              </a:ln>
              <a:effectLst/>
            </c:spPr>
            <c:txPr>
              <a:bodyPr rot="0" vert="horz"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en-US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3:$A$71</c:f>
              <c:numCache>
                <c:formatCode>[$-409]d\-mmm;@</c:formatCode>
                <c:ptCount val="69"/>
                <c:pt idx="0">
                  <c:v>43953</c:v>
                </c:pt>
                <c:pt idx="1">
                  <c:v>43954</c:v>
                </c:pt>
                <c:pt idx="2">
                  <c:v>43955</c:v>
                </c:pt>
                <c:pt idx="3">
                  <c:v>43956</c:v>
                </c:pt>
                <c:pt idx="4">
                  <c:v>43957</c:v>
                </c:pt>
                <c:pt idx="5">
                  <c:v>43958</c:v>
                </c:pt>
                <c:pt idx="6">
                  <c:v>43959</c:v>
                </c:pt>
                <c:pt idx="7">
                  <c:v>43960</c:v>
                </c:pt>
                <c:pt idx="8">
                  <c:v>43961</c:v>
                </c:pt>
                <c:pt idx="9">
                  <c:v>43962</c:v>
                </c:pt>
                <c:pt idx="10">
                  <c:v>43963</c:v>
                </c:pt>
                <c:pt idx="11">
                  <c:v>43964</c:v>
                </c:pt>
                <c:pt idx="12">
                  <c:v>43965</c:v>
                </c:pt>
                <c:pt idx="13">
                  <c:v>43966</c:v>
                </c:pt>
                <c:pt idx="14">
                  <c:v>43967</c:v>
                </c:pt>
                <c:pt idx="15">
                  <c:v>43968</c:v>
                </c:pt>
                <c:pt idx="16">
                  <c:v>43969</c:v>
                </c:pt>
                <c:pt idx="17">
                  <c:v>43970</c:v>
                </c:pt>
                <c:pt idx="18">
                  <c:v>43971</c:v>
                </c:pt>
                <c:pt idx="19">
                  <c:v>43972</c:v>
                </c:pt>
                <c:pt idx="20">
                  <c:v>43973</c:v>
                </c:pt>
                <c:pt idx="21">
                  <c:v>43974</c:v>
                </c:pt>
                <c:pt idx="22">
                  <c:v>43975</c:v>
                </c:pt>
                <c:pt idx="23">
                  <c:v>43976</c:v>
                </c:pt>
                <c:pt idx="24">
                  <c:v>43977</c:v>
                </c:pt>
                <c:pt idx="25">
                  <c:v>43978</c:v>
                </c:pt>
                <c:pt idx="26">
                  <c:v>43979</c:v>
                </c:pt>
                <c:pt idx="27">
                  <c:v>43980</c:v>
                </c:pt>
                <c:pt idx="28">
                  <c:v>43981</c:v>
                </c:pt>
                <c:pt idx="29">
                  <c:v>43982</c:v>
                </c:pt>
                <c:pt idx="30">
                  <c:v>43983</c:v>
                </c:pt>
                <c:pt idx="31">
                  <c:v>43984</c:v>
                </c:pt>
                <c:pt idx="32">
                  <c:v>43985</c:v>
                </c:pt>
                <c:pt idx="33">
                  <c:v>43986</c:v>
                </c:pt>
                <c:pt idx="34">
                  <c:v>43987</c:v>
                </c:pt>
                <c:pt idx="35">
                  <c:v>43988</c:v>
                </c:pt>
                <c:pt idx="36">
                  <c:v>43989</c:v>
                </c:pt>
                <c:pt idx="37">
                  <c:v>43990</c:v>
                </c:pt>
                <c:pt idx="38">
                  <c:v>43991</c:v>
                </c:pt>
                <c:pt idx="39">
                  <c:v>43992</c:v>
                </c:pt>
                <c:pt idx="40">
                  <c:v>43993</c:v>
                </c:pt>
                <c:pt idx="41">
                  <c:v>43994</c:v>
                </c:pt>
                <c:pt idx="42">
                  <c:v>43995</c:v>
                </c:pt>
                <c:pt idx="43">
                  <c:v>43996</c:v>
                </c:pt>
                <c:pt idx="44">
                  <c:v>43997</c:v>
                </c:pt>
                <c:pt idx="45">
                  <c:v>43998</c:v>
                </c:pt>
                <c:pt idx="46">
                  <c:v>43999</c:v>
                </c:pt>
                <c:pt idx="47">
                  <c:v>44000</c:v>
                </c:pt>
                <c:pt idx="48">
                  <c:v>44001</c:v>
                </c:pt>
                <c:pt idx="49">
                  <c:v>44002</c:v>
                </c:pt>
                <c:pt idx="50">
                  <c:v>44003</c:v>
                </c:pt>
                <c:pt idx="51">
                  <c:v>44004</c:v>
                </c:pt>
                <c:pt idx="52">
                  <c:v>44005</c:v>
                </c:pt>
                <c:pt idx="53">
                  <c:v>44006</c:v>
                </c:pt>
                <c:pt idx="54">
                  <c:v>44007</c:v>
                </c:pt>
                <c:pt idx="55">
                  <c:v>44008</c:v>
                </c:pt>
                <c:pt idx="56">
                  <c:v>44009</c:v>
                </c:pt>
                <c:pt idx="57">
                  <c:v>44010</c:v>
                </c:pt>
                <c:pt idx="58">
                  <c:v>44011</c:v>
                </c:pt>
                <c:pt idx="59">
                  <c:v>44012</c:v>
                </c:pt>
                <c:pt idx="60">
                  <c:v>44013</c:v>
                </c:pt>
                <c:pt idx="61">
                  <c:v>44014</c:v>
                </c:pt>
                <c:pt idx="62">
                  <c:v>44015</c:v>
                </c:pt>
                <c:pt idx="63">
                  <c:v>44016</c:v>
                </c:pt>
                <c:pt idx="64">
                  <c:v>44017</c:v>
                </c:pt>
                <c:pt idx="65">
                  <c:v>44018</c:v>
                </c:pt>
                <c:pt idx="66">
                  <c:v>44019</c:v>
                </c:pt>
                <c:pt idx="67">
                  <c:v>44020</c:v>
                </c:pt>
                <c:pt idx="68">
                  <c:v>44021</c:v>
                </c:pt>
              </c:numCache>
            </c:numRef>
          </c:cat>
          <c:val>
            <c:numRef>
              <c:f>Sheet1!$B$3:$B$71</c:f>
              <c:numCache>
                <c:formatCode>_ * #,##0_ ;_ * \-#,##0_ ;_ * "-"??_ ;_ @_ </c:formatCode>
                <c:ptCount val="69"/>
                <c:pt idx="0">
                  <c:v>9951</c:v>
                </c:pt>
                <c:pt idx="1">
                  <c:v>10633</c:v>
                </c:pt>
                <c:pt idx="2">
                  <c:v>11707</c:v>
                </c:pt>
                <c:pt idx="3">
                  <c:v>12727</c:v>
                </c:pt>
                <c:pt idx="4">
                  <c:v>14183</c:v>
                </c:pt>
                <c:pt idx="5">
                  <c:v>15267</c:v>
                </c:pt>
                <c:pt idx="6">
                  <c:v>16540</c:v>
                </c:pt>
                <c:pt idx="7">
                  <c:v>17847</c:v>
                </c:pt>
                <c:pt idx="8">
                  <c:v>19358</c:v>
                </c:pt>
                <c:pt idx="9">
                  <c:v>20917</c:v>
                </c:pt>
                <c:pt idx="10">
                  <c:v>22455</c:v>
                </c:pt>
                <c:pt idx="11">
                  <c:v>24386</c:v>
                </c:pt>
                <c:pt idx="12">
                  <c:v>26235</c:v>
                </c:pt>
                <c:pt idx="13">
                  <c:v>27920</c:v>
                </c:pt>
                <c:pt idx="14">
                  <c:v>30153</c:v>
                </c:pt>
                <c:pt idx="15">
                  <c:v>34109</c:v>
                </c:pt>
                <c:pt idx="16">
                  <c:v>36824</c:v>
                </c:pt>
                <c:pt idx="17">
                  <c:v>39174</c:v>
                </c:pt>
                <c:pt idx="18">
                  <c:v>42298</c:v>
                </c:pt>
                <c:pt idx="19">
                  <c:v>45300</c:v>
                </c:pt>
                <c:pt idx="20">
                  <c:v>48534</c:v>
                </c:pt>
                <c:pt idx="21">
                  <c:v>51784</c:v>
                </c:pt>
                <c:pt idx="22">
                  <c:v>54441</c:v>
                </c:pt>
                <c:pt idx="23">
                  <c:v>57721</c:v>
                </c:pt>
                <c:pt idx="24">
                  <c:v>60491</c:v>
                </c:pt>
                <c:pt idx="25">
                  <c:v>64426</c:v>
                </c:pt>
                <c:pt idx="26">
                  <c:v>67692</c:v>
                </c:pt>
                <c:pt idx="27">
                  <c:v>71106</c:v>
                </c:pt>
                <c:pt idx="28">
                  <c:v>82370</c:v>
                </c:pt>
                <c:pt idx="29">
                  <c:v>86984</c:v>
                </c:pt>
                <c:pt idx="30">
                  <c:v>91819</c:v>
                </c:pt>
                <c:pt idx="31">
                  <c:v>95527</c:v>
                </c:pt>
                <c:pt idx="32">
                  <c:v>100303</c:v>
                </c:pt>
                <c:pt idx="33">
                  <c:v>104107</c:v>
                </c:pt>
                <c:pt idx="34">
                  <c:v>109462</c:v>
                </c:pt>
                <c:pt idx="35">
                  <c:v>114073</c:v>
                </c:pt>
                <c:pt idx="36">
                  <c:v>119293</c:v>
                </c:pt>
                <c:pt idx="37">
                  <c:v>124430</c:v>
                </c:pt>
                <c:pt idx="38">
                  <c:v>129215</c:v>
                </c:pt>
                <c:pt idx="39">
                  <c:v>135206</c:v>
                </c:pt>
                <c:pt idx="40">
                  <c:v>141029</c:v>
                </c:pt>
                <c:pt idx="41">
                  <c:v>147195</c:v>
                </c:pt>
                <c:pt idx="42">
                  <c:v>154330</c:v>
                </c:pt>
                <c:pt idx="43">
                  <c:v>162379</c:v>
                </c:pt>
                <c:pt idx="44">
                  <c:v>169798</c:v>
                </c:pt>
                <c:pt idx="45">
                  <c:v>180013</c:v>
                </c:pt>
                <c:pt idx="46">
                  <c:v>186935</c:v>
                </c:pt>
                <c:pt idx="47">
                  <c:v>194325</c:v>
                </c:pt>
                <c:pt idx="48">
                  <c:v>204711</c:v>
                </c:pt>
                <c:pt idx="49">
                  <c:v>213831</c:v>
                </c:pt>
                <c:pt idx="50">
                  <c:v>227756</c:v>
                </c:pt>
                <c:pt idx="51">
                  <c:v>237196</c:v>
                </c:pt>
                <c:pt idx="52">
                  <c:v>248190</c:v>
                </c:pt>
                <c:pt idx="53">
                  <c:v>258685</c:v>
                </c:pt>
                <c:pt idx="54">
                  <c:v>271697</c:v>
                </c:pt>
                <c:pt idx="55">
                  <c:v>285637</c:v>
                </c:pt>
                <c:pt idx="56">
                  <c:v>295881</c:v>
                </c:pt>
                <c:pt idx="57">
                  <c:v>309713</c:v>
                </c:pt>
                <c:pt idx="58">
                  <c:v>321723</c:v>
                </c:pt>
                <c:pt idx="59">
                  <c:v>334822</c:v>
                </c:pt>
                <c:pt idx="60">
                  <c:v>347979</c:v>
                </c:pt>
                <c:pt idx="61">
                  <c:v>359860</c:v>
                </c:pt>
                <c:pt idx="62">
                  <c:v>379892</c:v>
                </c:pt>
                <c:pt idx="63">
                  <c:v>394227</c:v>
                </c:pt>
                <c:pt idx="64">
                  <c:v>409083</c:v>
                </c:pt>
                <c:pt idx="65">
                  <c:v>424433</c:v>
                </c:pt>
                <c:pt idx="66">
                  <c:v>439948</c:v>
                </c:pt>
                <c:pt idx="67">
                  <c:v>456831</c:v>
                </c:pt>
                <c:pt idx="68">
                  <c:v>47637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EFA-4B8F-9147-B8CFC62A1E7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tive Cases</c:v>
                </c:pt>
              </c:strCache>
            </c:strRef>
          </c:tx>
          <c:spPr>
            <a:ln>
              <a:solidFill>
                <a:srgbClr val="002060"/>
              </a:solidFill>
            </a:ln>
            <a:effectLst/>
          </c:spPr>
          <c:marker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marker>
          <c:dLbls>
            <c:dLbl>
              <c:idx val="42"/>
              <c:layout>
                <c:manualLayout>
                  <c:x val="-9.7713284417793256E-2"/>
                  <c:y val="9.4889881864616582E-2"/>
                </c:manualLayout>
              </c:layout>
              <c:spPr>
                <a:solidFill>
                  <a:schemeClr val="accent5">
                    <a:lumMod val="20000"/>
                    <a:lumOff val="80000"/>
                    <a:alpha val="30000"/>
                  </a:schemeClr>
                </a:solidFill>
                <a:ln w="3175">
                  <a:solidFill>
                    <a:schemeClr val="accent1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6.6619265165526464E-2"/>
                    </c:manualLayout>
                  </c15:layout>
                </c:ext>
              </c:extLst>
            </c:dLbl>
            <c:dLbl>
              <c:idx val="49"/>
              <c:layout>
                <c:manualLayout>
                  <c:x val="2.5045891020009409E-3"/>
                  <c:y val="3.9721345896816154E-2"/>
                </c:manualLayout>
              </c:layout>
              <c:spPr>
                <a:solidFill>
                  <a:schemeClr val="accent5">
                    <a:lumMod val="20000"/>
                    <a:lumOff val="80000"/>
                    <a:alpha val="30000"/>
                  </a:schemeClr>
                </a:solidFill>
                <a:ln w="3175">
                  <a:solidFill>
                    <a:schemeClr val="accent1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5.3378816533254374E-2"/>
                    </c:manualLayout>
                  </c15:layout>
                </c:ext>
              </c:extLst>
            </c:dLbl>
            <c:dLbl>
              <c:idx val="56"/>
              <c:layout>
                <c:manualLayout>
                  <c:x val="6.6997758478527306E-3"/>
                  <c:y val="2.6231379098718064E-2"/>
                </c:manualLayout>
              </c:layout>
              <c:spPr>
                <a:solidFill>
                  <a:schemeClr val="accent5">
                    <a:lumMod val="20000"/>
                    <a:lumOff val="80000"/>
                    <a:alpha val="30000"/>
                  </a:schemeClr>
                </a:solidFill>
                <a:ln w="3175">
                  <a:solidFill>
                    <a:schemeClr val="accent1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5.1172075094542364E-2"/>
                    </c:manualLayout>
                  </c15:layout>
                </c:ext>
              </c:extLst>
            </c:dLbl>
            <c:dLbl>
              <c:idx val="68"/>
              <c:layout>
                <c:manualLayout>
                  <c:x val="-4.3572988486867076E-3"/>
                  <c:y val="4.829879348583821E-2"/>
                </c:manualLayout>
              </c:layout>
              <c:spPr>
                <a:solidFill>
                  <a:schemeClr val="accent5">
                    <a:lumMod val="20000"/>
                    <a:lumOff val="80000"/>
                    <a:alpha val="30000"/>
                  </a:schemeClr>
                </a:solidFill>
                <a:ln w="3175">
                  <a:solidFill>
                    <a:schemeClr val="accent1"/>
                  </a:solidFill>
                </a:ln>
                <a:effectLst/>
              </c:spPr>
              <c:txPr>
                <a:bodyPr rot="0" vert="horz" wrap="square" lIns="38100" tIns="19050" rIns="38100" bIns="19050" anchor="ctr">
                  <a:noAutofit/>
                </a:bodyPr>
                <a:lstStyle/>
                <a:p>
                  <a:pPr>
                    <a:defRPr sz="1800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0EC-4A4B-893B-A1588B418FDB}"/>
                </c:ext>
                <c:ext xmlns:c15="http://schemas.microsoft.com/office/drawing/2012/chart" uri="{CE6537A1-D6FC-4f65-9D91-7224C49458BB}">
                  <c15:layout>
                    <c:manualLayout>
                      <c:w val="8.0284089023046429E-2"/>
                      <c:h val="5.1172075094542364E-2"/>
                    </c:manualLayout>
                  </c15:layout>
                </c:ext>
              </c:extLst>
            </c:dLbl>
            <c:spPr>
              <a:solidFill>
                <a:schemeClr val="accent5">
                  <a:lumMod val="20000"/>
                  <a:lumOff val="80000"/>
                  <a:alpha val="30000"/>
                </a:schemeClr>
              </a:solidFill>
              <a:ln w="3175">
                <a:solidFill>
                  <a:schemeClr val="accent1"/>
                </a:solidFill>
              </a:ln>
              <a:effectLst/>
            </c:spPr>
            <c:txPr>
              <a:bodyPr rot="0" vert="horz" wrap="square" lIns="38100" tIns="19050" rIns="38100" bIns="19050" anchor="ctr">
                <a:spAutoFit/>
              </a:bodyPr>
              <a:lstStyle/>
              <a:p>
                <a:pPr>
                  <a:defRPr sz="2000"/>
                </a:pPr>
                <a:endParaRPr lang="en-US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3:$A$71</c:f>
              <c:numCache>
                <c:formatCode>[$-409]d\-mmm;@</c:formatCode>
                <c:ptCount val="69"/>
                <c:pt idx="0">
                  <c:v>43953</c:v>
                </c:pt>
                <c:pt idx="1">
                  <c:v>43954</c:v>
                </c:pt>
                <c:pt idx="2">
                  <c:v>43955</c:v>
                </c:pt>
                <c:pt idx="3">
                  <c:v>43956</c:v>
                </c:pt>
                <c:pt idx="4">
                  <c:v>43957</c:v>
                </c:pt>
                <c:pt idx="5">
                  <c:v>43958</c:v>
                </c:pt>
                <c:pt idx="6">
                  <c:v>43959</c:v>
                </c:pt>
                <c:pt idx="7">
                  <c:v>43960</c:v>
                </c:pt>
                <c:pt idx="8">
                  <c:v>43961</c:v>
                </c:pt>
                <c:pt idx="9">
                  <c:v>43962</c:v>
                </c:pt>
                <c:pt idx="10">
                  <c:v>43963</c:v>
                </c:pt>
                <c:pt idx="11">
                  <c:v>43964</c:v>
                </c:pt>
                <c:pt idx="12">
                  <c:v>43965</c:v>
                </c:pt>
                <c:pt idx="13">
                  <c:v>43966</c:v>
                </c:pt>
                <c:pt idx="14">
                  <c:v>43967</c:v>
                </c:pt>
                <c:pt idx="15">
                  <c:v>43968</c:v>
                </c:pt>
                <c:pt idx="16">
                  <c:v>43969</c:v>
                </c:pt>
                <c:pt idx="17">
                  <c:v>43970</c:v>
                </c:pt>
                <c:pt idx="18">
                  <c:v>43971</c:v>
                </c:pt>
                <c:pt idx="19">
                  <c:v>43972</c:v>
                </c:pt>
                <c:pt idx="20">
                  <c:v>43973</c:v>
                </c:pt>
                <c:pt idx="21">
                  <c:v>43974</c:v>
                </c:pt>
                <c:pt idx="22">
                  <c:v>43975</c:v>
                </c:pt>
                <c:pt idx="23">
                  <c:v>43976</c:v>
                </c:pt>
                <c:pt idx="24">
                  <c:v>43977</c:v>
                </c:pt>
                <c:pt idx="25">
                  <c:v>43978</c:v>
                </c:pt>
                <c:pt idx="26">
                  <c:v>43979</c:v>
                </c:pt>
                <c:pt idx="27">
                  <c:v>43980</c:v>
                </c:pt>
                <c:pt idx="28">
                  <c:v>43981</c:v>
                </c:pt>
                <c:pt idx="29">
                  <c:v>43982</c:v>
                </c:pt>
                <c:pt idx="30">
                  <c:v>43983</c:v>
                </c:pt>
                <c:pt idx="31">
                  <c:v>43984</c:v>
                </c:pt>
                <c:pt idx="32">
                  <c:v>43985</c:v>
                </c:pt>
                <c:pt idx="33">
                  <c:v>43986</c:v>
                </c:pt>
                <c:pt idx="34">
                  <c:v>43987</c:v>
                </c:pt>
                <c:pt idx="35">
                  <c:v>43988</c:v>
                </c:pt>
                <c:pt idx="36">
                  <c:v>43989</c:v>
                </c:pt>
                <c:pt idx="37">
                  <c:v>43990</c:v>
                </c:pt>
                <c:pt idx="38">
                  <c:v>43991</c:v>
                </c:pt>
                <c:pt idx="39">
                  <c:v>43992</c:v>
                </c:pt>
                <c:pt idx="40">
                  <c:v>43993</c:v>
                </c:pt>
                <c:pt idx="41">
                  <c:v>43994</c:v>
                </c:pt>
                <c:pt idx="42">
                  <c:v>43995</c:v>
                </c:pt>
                <c:pt idx="43">
                  <c:v>43996</c:v>
                </c:pt>
                <c:pt idx="44">
                  <c:v>43997</c:v>
                </c:pt>
                <c:pt idx="45">
                  <c:v>43998</c:v>
                </c:pt>
                <c:pt idx="46">
                  <c:v>43999</c:v>
                </c:pt>
                <c:pt idx="47">
                  <c:v>44000</c:v>
                </c:pt>
                <c:pt idx="48">
                  <c:v>44001</c:v>
                </c:pt>
                <c:pt idx="49">
                  <c:v>44002</c:v>
                </c:pt>
                <c:pt idx="50">
                  <c:v>44003</c:v>
                </c:pt>
                <c:pt idx="51">
                  <c:v>44004</c:v>
                </c:pt>
                <c:pt idx="52">
                  <c:v>44005</c:v>
                </c:pt>
                <c:pt idx="53">
                  <c:v>44006</c:v>
                </c:pt>
                <c:pt idx="54">
                  <c:v>44007</c:v>
                </c:pt>
                <c:pt idx="55">
                  <c:v>44008</c:v>
                </c:pt>
                <c:pt idx="56">
                  <c:v>44009</c:v>
                </c:pt>
                <c:pt idx="57">
                  <c:v>44010</c:v>
                </c:pt>
                <c:pt idx="58">
                  <c:v>44011</c:v>
                </c:pt>
                <c:pt idx="59">
                  <c:v>44012</c:v>
                </c:pt>
                <c:pt idx="60">
                  <c:v>44013</c:v>
                </c:pt>
                <c:pt idx="61">
                  <c:v>44014</c:v>
                </c:pt>
                <c:pt idx="62">
                  <c:v>44015</c:v>
                </c:pt>
                <c:pt idx="63">
                  <c:v>44016</c:v>
                </c:pt>
                <c:pt idx="64">
                  <c:v>44017</c:v>
                </c:pt>
                <c:pt idx="65">
                  <c:v>44018</c:v>
                </c:pt>
                <c:pt idx="66">
                  <c:v>44019</c:v>
                </c:pt>
                <c:pt idx="67">
                  <c:v>44020</c:v>
                </c:pt>
                <c:pt idx="68">
                  <c:v>44021</c:v>
                </c:pt>
              </c:numCache>
            </c:numRef>
          </c:cat>
          <c:val>
            <c:numRef>
              <c:f>Sheet1!$C$3:$C$71</c:f>
              <c:numCache>
                <c:formatCode>_ * #,##0_ ;_ * \-#,##0_ ;_ * "-"??_ ;_ @_ </c:formatCode>
                <c:ptCount val="69"/>
                <c:pt idx="0">
                  <c:v>25988</c:v>
                </c:pt>
                <c:pt idx="1">
                  <c:v>27922</c:v>
                </c:pt>
                <c:pt idx="2">
                  <c:v>29453</c:v>
                </c:pt>
                <c:pt idx="3">
                  <c:v>32138</c:v>
                </c:pt>
                <c:pt idx="4">
                  <c:v>33514</c:v>
                </c:pt>
                <c:pt idx="5">
                  <c:v>35902</c:v>
                </c:pt>
                <c:pt idx="6">
                  <c:v>37916</c:v>
                </c:pt>
                <c:pt idx="7">
                  <c:v>39834</c:v>
                </c:pt>
                <c:pt idx="8">
                  <c:v>41472</c:v>
                </c:pt>
                <c:pt idx="9">
                  <c:v>44029</c:v>
                </c:pt>
                <c:pt idx="10">
                  <c:v>46008</c:v>
                </c:pt>
                <c:pt idx="11">
                  <c:v>47480</c:v>
                </c:pt>
                <c:pt idx="12">
                  <c:v>49219</c:v>
                </c:pt>
                <c:pt idx="13">
                  <c:v>51401</c:v>
                </c:pt>
                <c:pt idx="14">
                  <c:v>52805</c:v>
                </c:pt>
                <c:pt idx="15">
                  <c:v>53656</c:v>
                </c:pt>
                <c:pt idx="16">
                  <c:v>55906</c:v>
                </c:pt>
                <c:pt idx="17">
                  <c:v>57988</c:v>
                </c:pt>
                <c:pt idx="18">
                  <c:v>60053</c:v>
                </c:pt>
                <c:pt idx="19">
                  <c:v>62221</c:v>
                </c:pt>
                <c:pt idx="20">
                  <c:v>64710</c:v>
                </c:pt>
                <c:pt idx="21">
                  <c:v>67698</c:v>
                </c:pt>
                <c:pt idx="22">
                  <c:v>71222</c:v>
                </c:pt>
                <c:pt idx="23">
                  <c:v>74461</c:v>
                </c:pt>
                <c:pt idx="24">
                  <c:v>77752</c:v>
                </c:pt>
                <c:pt idx="25">
                  <c:v>78991</c:v>
                </c:pt>
                <c:pt idx="26">
                  <c:v>81778</c:v>
                </c:pt>
                <c:pt idx="27">
                  <c:v>85314</c:v>
                </c:pt>
                <c:pt idx="28">
                  <c:v>81379</c:v>
                </c:pt>
                <c:pt idx="29">
                  <c:v>92757</c:v>
                </c:pt>
                <c:pt idx="30">
                  <c:v>87692</c:v>
                </c:pt>
                <c:pt idx="31">
                  <c:v>91167</c:v>
                </c:pt>
                <c:pt idx="32">
                  <c:v>94374</c:v>
                </c:pt>
                <c:pt idx="33">
                  <c:v>99254</c:v>
                </c:pt>
                <c:pt idx="34">
                  <c:v>103350</c:v>
                </c:pt>
                <c:pt idx="35">
                  <c:v>107750</c:v>
                </c:pt>
                <c:pt idx="36">
                  <c:v>111801</c:v>
                </c:pt>
                <c:pt idx="37">
                  <c:v>117144</c:v>
                </c:pt>
                <c:pt idx="38">
                  <c:v>121114</c:v>
                </c:pt>
                <c:pt idx="39">
                  <c:v>124405</c:v>
                </c:pt>
                <c:pt idx="40">
                  <c:v>128517</c:v>
                </c:pt>
                <c:pt idx="41">
                  <c:v>133527</c:v>
                </c:pt>
                <c:pt idx="42">
                  <c:v>137795</c:v>
                </c:pt>
                <c:pt idx="43">
                  <c:v>141912</c:v>
                </c:pt>
                <c:pt idx="44">
                  <c:v>146134</c:v>
                </c:pt>
                <c:pt idx="45">
                  <c:v>153178</c:v>
                </c:pt>
                <c:pt idx="46">
                  <c:v>155227</c:v>
                </c:pt>
                <c:pt idx="47">
                  <c:v>160384</c:v>
                </c:pt>
                <c:pt idx="48">
                  <c:v>163248</c:v>
                </c:pt>
                <c:pt idx="49">
                  <c:v>168269</c:v>
                </c:pt>
                <c:pt idx="50">
                  <c:v>169451</c:v>
                </c:pt>
                <c:pt idx="51">
                  <c:v>174387</c:v>
                </c:pt>
                <c:pt idx="52">
                  <c:v>178014</c:v>
                </c:pt>
                <c:pt idx="53">
                  <c:v>183022</c:v>
                </c:pt>
                <c:pt idx="54">
                  <c:v>186514</c:v>
                </c:pt>
                <c:pt idx="55">
                  <c:v>189463</c:v>
                </c:pt>
                <c:pt idx="56">
                  <c:v>197387</c:v>
                </c:pt>
                <c:pt idx="57">
                  <c:v>203051</c:v>
                </c:pt>
                <c:pt idx="58">
                  <c:v>210120</c:v>
                </c:pt>
                <c:pt idx="59">
                  <c:v>215125</c:v>
                </c:pt>
                <c:pt idx="60">
                  <c:v>220114</c:v>
                </c:pt>
                <c:pt idx="61">
                  <c:v>226947</c:v>
                </c:pt>
                <c:pt idx="62">
                  <c:v>227439</c:v>
                </c:pt>
                <c:pt idx="63">
                  <c:v>235433</c:v>
                </c:pt>
                <c:pt idx="64">
                  <c:v>244814</c:v>
                </c:pt>
                <c:pt idx="65">
                  <c:v>253287</c:v>
                </c:pt>
                <c:pt idx="66">
                  <c:v>259557</c:v>
                </c:pt>
                <c:pt idx="67">
                  <c:v>264944</c:v>
                </c:pt>
                <c:pt idx="68">
                  <c:v>2697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EFA-4B8F-9147-B8CFC62A1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779392"/>
        <c:axId val="107773952"/>
      </c:lineChart>
      <c:dateAx>
        <c:axId val="107779392"/>
        <c:scaling>
          <c:orientation val="minMax"/>
        </c:scaling>
        <c:delete val="0"/>
        <c:axPos val="b"/>
        <c:numFmt formatCode="[$-409]d\-mmm;@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3952"/>
        <c:crosses val="autoZero"/>
        <c:auto val="0"/>
        <c:lblOffset val="100"/>
        <c:baseTimeUnit val="days"/>
        <c:majorUnit val="7"/>
        <c:majorTimeUnit val="days"/>
      </c:dateAx>
      <c:valAx>
        <c:axId val="10777395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9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007266935477339"/>
          <c:y val="7.4127398832199379E-3"/>
          <c:w val="0.28262591297743594"/>
          <c:h val="5.92070686142622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61466535433072"/>
          <c:y val="7.2560964672860065E-2"/>
          <c:w val="0.86719783464566924"/>
          <c:h val="0.769247651417136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7707-43F7-8ECF-FA6B7940A79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707-43F7-8ECF-FA6B7940A79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ctive Cases</c:v>
                </c:pt>
                <c:pt idx="1">
                  <c:v>Recovered Cas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9789</c:v>
                </c:pt>
                <c:pt idx="1">
                  <c:v>4763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707-43F7-8ECF-FA6B7940A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"/>
        <c:axId val="107774496"/>
        <c:axId val="107779936"/>
      </c:barChart>
      <c:catAx>
        <c:axId val="10777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9936"/>
        <c:crosses val="autoZero"/>
        <c:auto val="1"/>
        <c:lblAlgn val="ctr"/>
        <c:lblOffset val="100"/>
        <c:noMultiLvlLbl val="0"/>
      </c:catAx>
      <c:valAx>
        <c:axId val="107779936"/>
        <c:scaling>
          <c:orientation val="minMax"/>
          <c:max val="5000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4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179112414869711E-2"/>
          <c:y val="3.947786526684164E-2"/>
          <c:w val="0.93439169368534813"/>
          <c:h val="0.7312745406824147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covery Ra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49"/>
              <c:layout>
                <c:manualLayout>
                  <c:x val="1.0893246187363835E-3"/>
                  <c:y val="2.66666666666666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B61-4C00-AF5A-28534E4FBA7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6"/>
              <c:layout>
                <c:manualLayout>
                  <c:x val="-6.3180827886710325E-2"/>
                  <c:y val="-2.53403324584426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26C-441A-944A-F5D24FD4F599}"/>
                </c:ext>
                <c:ext xmlns:c15="http://schemas.microsoft.com/office/drawing/2012/chart" uri="{CE6537A1-D6FC-4f65-9D91-7224C49458BB}">
                  <c15:layout>
                    <c:manualLayout>
                      <c:w val="0.1140631808278867"/>
                      <c:h val="4.6672090988626423E-2"/>
                    </c:manualLayout>
                  </c15:layout>
                </c:ext>
              </c:extLst>
            </c:dLbl>
            <c:dLbl>
              <c:idx val="116"/>
              <c:layout>
                <c:manualLayout>
                  <c:x val="-5.4466230936835148E-4"/>
                  <c:y val="-3.932747156605424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26C-441A-944A-F5D24FD4F599}"/>
                </c:ext>
                <c:ext xmlns:c15="http://schemas.microsoft.com/office/drawing/2012/chart" uri="{CE6537A1-D6FC-4f65-9D91-7224C49458BB}">
                  <c15:layout>
                    <c:manualLayout>
                      <c:w val="7.589324618736383E-2"/>
                      <c:h val="6.1514260717410313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8</c:f>
              <c:numCache>
                <c:formatCode>d\-mmm</c:formatCode>
                <c:ptCount val="117"/>
                <c:pt idx="0">
                  <c:v>43905</c:v>
                </c:pt>
                <c:pt idx="1">
                  <c:v>43906</c:v>
                </c:pt>
                <c:pt idx="2">
                  <c:v>43907</c:v>
                </c:pt>
                <c:pt idx="3">
                  <c:v>43908</c:v>
                </c:pt>
                <c:pt idx="4">
                  <c:v>43909</c:v>
                </c:pt>
                <c:pt idx="5">
                  <c:v>43910</c:v>
                </c:pt>
                <c:pt idx="6">
                  <c:v>43911</c:v>
                </c:pt>
                <c:pt idx="7">
                  <c:v>43912</c:v>
                </c:pt>
                <c:pt idx="8">
                  <c:v>43913</c:v>
                </c:pt>
                <c:pt idx="9">
                  <c:v>43914</c:v>
                </c:pt>
                <c:pt idx="10">
                  <c:v>43915</c:v>
                </c:pt>
                <c:pt idx="11">
                  <c:v>43916</c:v>
                </c:pt>
                <c:pt idx="12">
                  <c:v>43917</c:v>
                </c:pt>
                <c:pt idx="13">
                  <c:v>43918</c:v>
                </c:pt>
                <c:pt idx="14">
                  <c:v>43919</c:v>
                </c:pt>
                <c:pt idx="15">
                  <c:v>43920</c:v>
                </c:pt>
                <c:pt idx="16">
                  <c:v>43921</c:v>
                </c:pt>
                <c:pt idx="17">
                  <c:v>43922</c:v>
                </c:pt>
                <c:pt idx="18">
                  <c:v>43923</c:v>
                </c:pt>
                <c:pt idx="19">
                  <c:v>43924</c:v>
                </c:pt>
                <c:pt idx="20">
                  <c:v>43925</c:v>
                </c:pt>
                <c:pt idx="21">
                  <c:v>43926</c:v>
                </c:pt>
                <c:pt idx="22">
                  <c:v>43927</c:v>
                </c:pt>
                <c:pt idx="23">
                  <c:v>43928</c:v>
                </c:pt>
                <c:pt idx="24">
                  <c:v>43929</c:v>
                </c:pt>
                <c:pt idx="25">
                  <c:v>43930</c:v>
                </c:pt>
                <c:pt idx="26">
                  <c:v>43931</c:v>
                </c:pt>
                <c:pt idx="27">
                  <c:v>43932</c:v>
                </c:pt>
                <c:pt idx="28">
                  <c:v>43933</c:v>
                </c:pt>
                <c:pt idx="29">
                  <c:v>43934</c:v>
                </c:pt>
                <c:pt idx="30">
                  <c:v>43935</c:v>
                </c:pt>
                <c:pt idx="31">
                  <c:v>43936</c:v>
                </c:pt>
                <c:pt idx="32">
                  <c:v>43937</c:v>
                </c:pt>
                <c:pt idx="33">
                  <c:v>43938</c:v>
                </c:pt>
                <c:pt idx="34">
                  <c:v>43939</c:v>
                </c:pt>
                <c:pt idx="35">
                  <c:v>43940</c:v>
                </c:pt>
                <c:pt idx="36">
                  <c:v>43941</c:v>
                </c:pt>
                <c:pt idx="37">
                  <c:v>43942</c:v>
                </c:pt>
                <c:pt idx="38">
                  <c:v>43943</c:v>
                </c:pt>
                <c:pt idx="39">
                  <c:v>43944</c:v>
                </c:pt>
                <c:pt idx="40">
                  <c:v>43945</c:v>
                </c:pt>
                <c:pt idx="41">
                  <c:v>43946</c:v>
                </c:pt>
                <c:pt idx="42">
                  <c:v>43947</c:v>
                </c:pt>
                <c:pt idx="43">
                  <c:v>43948</c:v>
                </c:pt>
                <c:pt idx="44">
                  <c:v>43949</c:v>
                </c:pt>
                <c:pt idx="45">
                  <c:v>43950</c:v>
                </c:pt>
                <c:pt idx="46">
                  <c:v>43951</c:v>
                </c:pt>
                <c:pt idx="47">
                  <c:v>43952</c:v>
                </c:pt>
                <c:pt idx="48">
                  <c:v>43953</c:v>
                </c:pt>
                <c:pt idx="49">
                  <c:v>43954</c:v>
                </c:pt>
                <c:pt idx="50">
                  <c:v>43955</c:v>
                </c:pt>
                <c:pt idx="51">
                  <c:v>43956</c:v>
                </c:pt>
                <c:pt idx="52">
                  <c:v>43957</c:v>
                </c:pt>
                <c:pt idx="53">
                  <c:v>43958</c:v>
                </c:pt>
                <c:pt idx="54">
                  <c:v>43959</c:v>
                </c:pt>
                <c:pt idx="55">
                  <c:v>43960</c:v>
                </c:pt>
                <c:pt idx="56">
                  <c:v>43961</c:v>
                </c:pt>
                <c:pt idx="57">
                  <c:v>43962</c:v>
                </c:pt>
                <c:pt idx="58">
                  <c:v>43963</c:v>
                </c:pt>
                <c:pt idx="59">
                  <c:v>43964</c:v>
                </c:pt>
                <c:pt idx="60">
                  <c:v>43965</c:v>
                </c:pt>
                <c:pt idx="61">
                  <c:v>43966</c:v>
                </c:pt>
                <c:pt idx="62">
                  <c:v>43967</c:v>
                </c:pt>
                <c:pt idx="63">
                  <c:v>43968</c:v>
                </c:pt>
                <c:pt idx="64">
                  <c:v>43969</c:v>
                </c:pt>
                <c:pt idx="65">
                  <c:v>43970</c:v>
                </c:pt>
                <c:pt idx="66">
                  <c:v>43971</c:v>
                </c:pt>
                <c:pt idx="67">
                  <c:v>43972</c:v>
                </c:pt>
                <c:pt idx="68">
                  <c:v>43973</c:v>
                </c:pt>
                <c:pt idx="69">
                  <c:v>43974</c:v>
                </c:pt>
                <c:pt idx="70">
                  <c:v>43975</c:v>
                </c:pt>
                <c:pt idx="71">
                  <c:v>43976</c:v>
                </c:pt>
                <c:pt idx="72">
                  <c:v>43977</c:v>
                </c:pt>
                <c:pt idx="73">
                  <c:v>43978</c:v>
                </c:pt>
                <c:pt idx="74">
                  <c:v>43979</c:v>
                </c:pt>
                <c:pt idx="75">
                  <c:v>43980</c:v>
                </c:pt>
                <c:pt idx="76">
                  <c:v>43981</c:v>
                </c:pt>
                <c:pt idx="77">
                  <c:v>43982</c:v>
                </c:pt>
                <c:pt idx="78">
                  <c:v>43983</c:v>
                </c:pt>
                <c:pt idx="79">
                  <c:v>43984</c:v>
                </c:pt>
                <c:pt idx="80">
                  <c:v>43985</c:v>
                </c:pt>
                <c:pt idx="81">
                  <c:v>43986</c:v>
                </c:pt>
                <c:pt idx="82">
                  <c:v>43987</c:v>
                </c:pt>
                <c:pt idx="83">
                  <c:v>43988</c:v>
                </c:pt>
                <c:pt idx="84">
                  <c:v>43989</c:v>
                </c:pt>
                <c:pt idx="85">
                  <c:v>43990</c:v>
                </c:pt>
                <c:pt idx="86">
                  <c:v>43991</c:v>
                </c:pt>
                <c:pt idx="87">
                  <c:v>43992</c:v>
                </c:pt>
                <c:pt idx="88">
                  <c:v>43993</c:v>
                </c:pt>
                <c:pt idx="89">
                  <c:v>43994</c:v>
                </c:pt>
                <c:pt idx="90">
                  <c:v>43995</c:v>
                </c:pt>
                <c:pt idx="91">
                  <c:v>43996</c:v>
                </c:pt>
                <c:pt idx="92">
                  <c:v>43997</c:v>
                </c:pt>
                <c:pt idx="93">
                  <c:v>43998</c:v>
                </c:pt>
                <c:pt idx="94">
                  <c:v>43999</c:v>
                </c:pt>
                <c:pt idx="95">
                  <c:v>44000</c:v>
                </c:pt>
                <c:pt idx="96">
                  <c:v>44001</c:v>
                </c:pt>
                <c:pt idx="97">
                  <c:v>44002</c:v>
                </c:pt>
                <c:pt idx="98">
                  <c:v>44003</c:v>
                </c:pt>
                <c:pt idx="99">
                  <c:v>44004</c:v>
                </c:pt>
                <c:pt idx="100">
                  <c:v>44005</c:v>
                </c:pt>
                <c:pt idx="101">
                  <c:v>44006</c:v>
                </c:pt>
                <c:pt idx="102">
                  <c:v>44007</c:v>
                </c:pt>
                <c:pt idx="103">
                  <c:v>44008</c:v>
                </c:pt>
                <c:pt idx="104">
                  <c:v>44009</c:v>
                </c:pt>
                <c:pt idx="105">
                  <c:v>44010</c:v>
                </c:pt>
                <c:pt idx="106">
                  <c:v>44011</c:v>
                </c:pt>
                <c:pt idx="107">
                  <c:v>44012</c:v>
                </c:pt>
                <c:pt idx="108">
                  <c:v>44013</c:v>
                </c:pt>
                <c:pt idx="109">
                  <c:v>44014</c:v>
                </c:pt>
                <c:pt idx="110">
                  <c:v>44015</c:v>
                </c:pt>
                <c:pt idx="111">
                  <c:v>44016</c:v>
                </c:pt>
                <c:pt idx="112">
                  <c:v>44017</c:v>
                </c:pt>
                <c:pt idx="113">
                  <c:v>44018</c:v>
                </c:pt>
                <c:pt idx="114">
                  <c:v>44019</c:v>
                </c:pt>
                <c:pt idx="115">
                  <c:v>44020</c:v>
                </c:pt>
                <c:pt idx="116">
                  <c:v>44021</c:v>
                </c:pt>
              </c:numCache>
            </c:numRef>
          </c:cat>
          <c:val>
            <c:numRef>
              <c:f>Sheet1!$B$2:$B$118</c:f>
              <c:numCache>
                <c:formatCode>0.00%</c:formatCode>
                <c:ptCount val="117"/>
                <c:pt idx="0">
                  <c:v>0.1215</c:v>
                </c:pt>
                <c:pt idx="1">
                  <c:v>0.1182</c:v>
                </c:pt>
                <c:pt idx="2">
                  <c:v>0.1111</c:v>
                </c:pt>
                <c:pt idx="3">
                  <c:v>9.5200000000000007E-2</c:v>
                </c:pt>
                <c:pt idx="4">
                  <c:v>0.1205</c:v>
                </c:pt>
                <c:pt idx="5">
                  <c:v>0.11169999999999999</c:v>
                </c:pt>
                <c:pt idx="6">
                  <c:v>7.2999999999999995E-2</c:v>
                </c:pt>
                <c:pt idx="7">
                  <c:v>6.3899999999999998E-2</c:v>
                </c:pt>
                <c:pt idx="8">
                  <c:v>7.3200000000000001E-2</c:v>
                </c:pt>
                <c:pt idx="9">
                  <c:v>7.2999999999999995E-2</c:v>
                </c:pt>
                <c:pt idx="10">
                  <c:v>7.0999999999999994E-2</c:v>
                </c:pt>
                <c:pt idx="11">
                  <c:v>9.2499999999999999E-2</c:v>
                </c:pt>
                <c:pt idx="12">
                  <c:v>9.0499999999999997E-2</c:v>
                </c:pt>
                <c:pt idx="13">
                  <c:v>8.8900000000000007E-2</c:v>
                </c:pt>
                <c:pt idx="14">
                  <c:v>9.3799999999999994E-2</c:v>
                </c:pt>
                <c:pt idx="15">
                  <c:v>8.1500000000000003E-2</c:v>
                </c:pt>
                <c:pt idx="16">
                  <c:v>8.8800000000000004E-2</c:v>
                </c:pt>
                <c:pt idx="17">
                  <c:v>7.85E-2</c:v>
                </c:pt>
                <c:pt idx="18">
                  <c:v>7.5399999999999995E-2</c:v>
                </c:pt>
                <c:pt idx="19">
                  <c:v>6.4000000000000001E-2</c:v>
                </c:pt>
                <c:pt idx="20">
                  <c:v>6.93E-2</c:v>
                </c:pt>
                <c:pt idx="21">
                  <c:v>7.6899999999999996E-2</c:v>
                </c:pt>
                <c:pt idx="22">
                  <c:v>7.4499999999999997E-2</c:v>
                </c:pt>
                <c:pt idx="23">
                  <c:v>7.3499999999999996E-2</c:v>
                </c:pt>
                <c:pt idx="24">
                  <c:v>7.7899999999999997E-2</c:v>
                </c:pt>
                <c:pt idx="25">
                  <c:v>8.1500000000000003E-2</c:v>
                </c:pt>
                <c:pt idx="26">
                  <c:v>7.6300000000000007E-2</c:v>
                </c:pt>
                <c:pt idx="27">
                  <c:v>8.6699999999999999E-2</c:v>
                </c:pt>
                <c:pt idx="28">
                  <c:v>9.06E-2</c:v>
                </c:pt>
                <c:pt idx="29">
                  <c:v>9.3600000000000003E-2</c:v>
                </c:pt>
                <c:pt idx="30">
                  <c:v>0.1</c:v>
                </c:pt>
                <c:pt idx="31">
                  <c:v>0.1142</c:v>
                </c:pt>
                <c:pt idx="32">
                  <c:v>0.1203</c:v>
                </c:pt>
                <c:pt idx="33">
                  <c:v>0.13059999999999999</c:v>
                </c:pt>
                <c:pt idx="34">
                  <c:v>0.13850000000000001</c:v>
                </c:pt>
                <c:pt idx="35">
                  <c:v>0.14199999999999999</c:v>
                </c:pt>
                <c:pt idx="36">
                  <c:v>0.14749999999999999</c:v>
                </c:pt>
                <c:pt idx="37">
                  <c:v>0.17480000000000001</c:v>
                </c:pt>
                <c:pt idx="38">
                  <c:v>0.19370000000000001</c:v>
                </c:pt>
                <c:pt idx="39">
                  <c:v>0.19900000000000001</c:v>
                </c:pt>
                <c:pt idx="40">
                  <c:v>0.20569999999999999</c:v>
                </c:pt>
                <c:pt idx="41">
                  <c:v>0.20660000000000001</c:v>
                </c:pt>
                <c:pt idx="42">
                  <c:v>0.21909999999999999</c:v>
                </c:pt>
                <c:pt idx="43">
                  <c:v>0.22170000000000001</c:v>
                </c:pt>
                <c:pt idx="44">
                  <c:v>0.2334</c:v>
                </c:pt>
                <c:pt idx="45">
                  <c:v>0.24560000000000001</c:v>
                </c:pt>
                <c:pt idx="46">
                  <c:v>0.25190000000000001</c:v>
                </c:pt>
                <c:pt idx="47">
                  <c:v>0.25369999999999998</c:v>
                </c:pt>
                <c:pt idx="48">
                  <c:v>0.26650000000000001</c:v>
                </c:pt>
                <c:pt idx="49">
                  <c:v>0.26590000000000003</c:v>
                </c:pt>
                <c:pt idx="50">
                  <c:v>0.2752</c:v>
                </c:pt>
                <c:pt idx="51">
                  <c:v>0.27410000000000001</c:v>
                </c:pt>
                <c:pt idx="52">
                  <c:v>0.28720000000000001</c:v>
                </c:pt>
                <c:pt idx="53">
                  <c:v>0.2883</c:v>
                </c:pt>
                <c:pt idx="54">
                  <c:v>0.29360000000000003</c:v>
                </c:pt>
                <c:pt idx="55">
                  <c:v>0.29909999999999998</c:v>
                </c:pt>
                <c:pt idx="56">
                  <c:v>0.30759999999999998</c:v>
                </c:pt>
                <c:pt idx="57">
                  <c:v>0.3115</c:v>
                </c:pt>
                <c:pt idx="58">
                  <c:v>0.31740000000000002</c:v>
                </c:pt>
                <c:pt idx="59">
                  <c:v>0.32829999999999998</c:v>
                </c:pt>
                <c:pt idx="60">
                  <c:v>0.33629999999999999</c:v>
                </c:pt>
                <c:pt idx="61">
                  <c:v>0.34060000000000001</c:v>
                </c:pt>
                <c:pt idx="62">
                  <c:v>0.35089999999999999</c:v>
                </c:pt>
                <c:pt idx="63">
                  <c:v>0.37509999999999999</c:v>
                </c:pt>
                <c:pt idx="64">
                  <c:v>0.38290000000000002</c:v>
                </c:pt>
                <c:pt idx="65">
                  <c:v>0.38729999999999998</c:v>
                </c:pt>
                <c:pt idx="66">
                  <c:v>0.3962</c:v>
                </c:pt>
                <c:pt idx="67">
                  <c:v>0.4032</c:v>
                </c:pt>
                <c:pt idx="68">
                  <c:v>0.4098</c:v>
                </c:pt>
                <c:pt idx="69">
                  <c:v>0.41389999999999999</c:v>
                </c:pt>
                <c:pt idx="70">
                  <c:v>0.4128</c:v>
                </c:pt>
                <c:pt idx="71">
                  <c:v>0.41570000000000001</c:v>
                </c:pt>
                <c:pt idx="72">
                  <c:v>0.41610000000000003</c:v>
                </c:pt>
                <c:pt idx="73">
                  <c:v>0.42449999999999999</c:v>
                </c:pt>
                <c:pt idx="74">
                  <c:v>0.42749999999999999</c:v>
                </c:pt>
                <c:pt idx="75">
                  <c:v>0.4289</c:v>
                </c:pt>
                <c:pt idx="76">
                  <c:v>0.47399999999999998</c:v>
                </c:pt>
                <c:pt idx="77">
                  <c:v>0.47760000000000002</c:v>
                </c:pt>
                <c:pt idx="78">
                  <c:v>0.4819</c:v>
                </c:pt>
                <c:pt idx="79">
                  <c:v>0.48070000000000002</c:v>
                </c:pt>
                <c:pt idx="80">
                  <c:v>0.48309999999999997</c:v>
                </c:pt>
                <c:pt idx="81">
                  <c:v>0.47989999999999999</c:v>
                </c:pt>
                <c:pt idx="82">
                  <c:v>0.48270000000000002</c:v>
                </c:pt>
                <c:pt idx="83">
                  <c:v>0.48199999999999998</c:v>
                </c:pt>
                <c:pt idx="84">
                  <c:v>0.48370000000000002</c:v>
                </c:pt>
                <c:pt idx="85">
                  <c:v>0.4849</c:v>
                </c:pt>
                <c:pt idx="86">
                  <c:v>0.48470000000000002</c:v>
                </c:pt>
                <c:pt idx="87">
                  <c:v>0.48880000000000001</c:v>
                </c:pt>
                <c:pt idx="88">
                  <c:v>0.49209999999999998</c:v>
                </c:pt>
                <c:pt idx="89">
                  <c:v>0.49469999999999997</c:v>
                </c:pt>
                <c:pt idx="90">
                  <c:v>0.4995</c:v>
                </c:pt>
                <c:pt idx="91">
                  <c:v>0.50600000000000001</c:v>
                </c:pt>
                <c:pt idx="92">
                  <c:v>0.51080000000000003</c:v>
                </c:pt>
                <c:pt idx="93">
                  <c:v>0.52470000000000006</c:v>
                </c:pt>
                <c:pt idx="94">
                  <c:v>0.52800000000000002</c:v>
                </c:pt>
                <c:pt idx="95">
                  <c:v>0.52959999999999996</c:v>
                </c:pt>
                <c:pt idx="96">
                  <c:v>0.53739999999999999</c:v>
                </c:pt>
                <c:pt idx="97">
                  <c:v>0.5413</c:v>
                </c:pt>
                <c:pt idx="98">
                  <c:v>0.55489999999999995</c:v>
                </c:pt>
                <c:pt idx="99">
                  <c:v>0.55769999999999997</c:v>
                </c:pt>
                <c:pt idx="100">
                  <c:v>0.56379999999999997</c:v>
                </c:pt>
                <c:pt idx="101">
                  <c:v>0.56710000000000005</c:v>
                </c:pt>
                <c:pt idx="102">
                  <c:v>0.57430000000000003</c:v>
                </c:pt>
                <c:pt idx="103">
                  <c:v>0.58250000000000002</c:v>
                </c:pt>
                <c:pt idx="104">
                  <c:v>0.58140000000000003</c:v>
                </c:pt>
                <c:pt idx="105">
                  <c:v>0.58560000000000001</c:v>
                </c:pt>
                <c:pt idx="106">
                  <c:v>0.5867</c:v>
                </c:pt>
                <c:pt idx="107">
                  <c:v>0.5907</c:v>
                </c:pt>
                <c:pt idx="108">
                  <c:v>0.59430000000000005</c:v>
                </c:pt>
                <c:pt idx="109">
                  <c:v>0.59519999999999995</c:v>
                </c:pt>
                <c:pt idx="110">
                  <c:v>0.60729999999999995</c:v>
                </c:pt>
                <c:pt idx="111">
                  <c:v>0.60809999999999997</c:v>
                </c:pt>
                <c:pt idx="112">
                  <c:v>0.60770000000000002</c:v>
                </c:pt>
                <c:pt idx="113">
                  <c:v>0.60860000000000003</c:v>
                </c:pt>
                <c:pt idx="114">
                  <c:v>0.61129999999999995</c:v>
                </c:pt>
                <c:pt idx="115">
                  <c:v>0.61529999999999996</c:v>
                </c:pt>
                <c:pt idx="116">
                  <c:v>0.6209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26C-441A-944A-F5D24FD4F5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775584"/>
        <c:axId val="107776672"/>
      </c:lineChart>
      <c:dateAx>
        <c:axId val="107775584"/>
        <c:scaling>
          <c:orientation val="minMax"/>
        </c:scaling>
        <c:delete val="0"/>
        <c:axPos val="b"/>
        <c:numFmt formatCode="d\-mmm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6672"/>
        <c:crosses val="autoZero"/>
        <c:auto val="1"/>
        <c:lblOffset val="100"/>
        <c:baseTimeUnit val="days"/>
      </c:dateAx>
      <c:valAx>
        <c:axId val="107776672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775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189722608203383"/>
          <c:y val="1.425984251968504E-2"/>
          <c:w val="0.25117664213541935"/>
          <c:h val="9.1854768153980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418761159181433E-3"/>
          <c:y val="3.857566765578635E-2"/>
          <c:w val="0.9857162477681638"/>
          <c:h val="0.922848664688427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BDD2FF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35</c:v>
                </c:pt>
                <c:pt idx="1">
                  <c:v>18</c:v>
                </c:pt>
                <c:pt idx="2">
                  <c:v>22</c:v>
                </c:pt>
                <c:pt idx="3">
                  <c:v>15</c:v>
                </c:pt>
                <c:pt idx="4">
                  <c:v>8</c:v>
                </c:pt>
                <c:pt idx="5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639-4F08-9CAA-CA8B1C5C7D7C}"/>
            </c:ext>
          </c:extLst>
        </c:ser>
        <c:ser>
          <c:idx val="1"/>
          <c:order val="1"/>
          <c:spPr>
            <a:solidFill>
              <a:srgbClr val="670F3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0.7865696172810519</c:v>
                </c:pt>
                <c:pt idx="1">
                  <c:v>2.952571026062456</c:v>
                </c:pt>
                <c:pt idx="2">
                  <c:v>10.747828128668701</c:v>
                </c:pt>
                <c:pt idx="3">
                  <c:v>31.967598027706035</c:v>
                </c:pt>
                <c:pt idx="4">
                  <c:v>39.4</c:v>
                </c:pt>
                <c:pt idx="5">
                  <c:v>13.8412772951397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639-4F08-9CAA-CA8B1C5C7D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60339648"/>
        <c:axId val="160338560"/>
      </c:barChart>
      <c:catAx>
        <c:axId val="160339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60338560"/>
        <c:crosses val="min"/>
        <c:auto val="0"/>
        <c:lblAlgn val="ctr"/>
        <c:lblOffset val="100"/>
        <c:noMultiLvlLbl val="0"/>
      </c:catAx>
      <c:valAx>
        <c:axId val="160338560"/>
        <c:scaling>
          <c:orientation val="minMax"/>
          <c:max val="39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0339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418761159181433E-3"/>
          <c:y val="3.8235294117647062E-2"/>
          <c:w val="0.9857162477681638"/>
          <c:h val="0.9147058823529411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BDD2FF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EBA-4A38-AADB-3DCEFCB51BAF}"/>
            </c:ext>
          </c:extLst>
        </c:ser>
        <c:ser>
          <c:idx val="1"/>
          <c:order val="1"/>
          <c:spPr>
            <a:solidFill>
              <a:srgbClr val="670F3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9</c:v>
                </c:pt>
                <c:pt idx="1">
                  <c:v>14.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EBA-4A38-AADB-3DCEFCB51B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6948208"/>
        <c:axId val="106959088"/>
      </c:barChart>
      <c:catAx>
        <c:axId val="106948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06959088"/>
        <c:crosses val="min"/>
        <c:auto val="0"/>
        <c:lblAlgn val="ctr"/>
        <c:lblOffset val="100"/>
        <c:noMultiLvlLbl val="0"/>
      </c:catAx>
      <c:valAx>
        <c:axId val="106959088"/>
        <c:scaling>
          <c:orientation val="minMax"/>
          <c:max val="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948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667</cdr:x>
      <cdr:y>0.28</cdr:y>
    </cdr:from>
    <cdr:to>
      <cdr:x>0.66667</cdr:x>
      <cdr:y>0.76</cdr:y>
    </cdr:to>
    <cdr:cxnSp macro="">
      <cdr:nvCxnSpPr>
        <cdr:cNvPr id="3" name="Straight Connector 2"/>
        <cdr:cNvCxnSpPr/>
      </cdr:nvCxnSpPr>
      <cdr:spPr>
        <a:xfrm xmlns:a="http://schemas.openxmlformats.org/drawingml/2006/main" flipH="1">
          <a:off x="7772400" y="1600200"/>
          <a:ext cx="0" cy="2743200"/>
        </a:xfrm>
        <a:prstGeom xmlns:a="http://schemas.openxmlformats.org/drawingml/2006/main" prst="line">
          <a:avLst/>
        </a:prstGeom>
        <a:ln xmlns:a="http://schemas.openxmlformats.org/drawingml/2006/main" w="28575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8039</cdr:x>
      <cdr:y>0.12</cdr:y>
    </cdr:from>
    <cdr:to>
      <cdr:x>0.98039</cdr:x>
      <cdr:y>0.77333</cdr:y>
    </cdr:to>
    <cdr:cxnSp macro="">
      <cdr:nvCxnSpPr>
        <cdr:cNvPr id="4" name="Straight Connector 3"/>
        <cdr:cNvCxnSpPr/>
      </cdr:nvCxnSpPr>
      <cdr:spPr>
        <a:xfrm xmlns:a="http://schemas.openxmlformats.org/drawingml/2006/main">
          <a:off x="11430000" y="685800"/>
          <a:ext cx="0" cy="3733800"/>
        </a:xfrm>
        <a:prstGeom xmlns:a="http://schemas.openxmlformats.org/drawingml/2006/main" prst="line">
          <a:avLst/>
        </a:prstGeom>
        <a:ln xmlns:a="http://schemas.openxmlformats.org/drawingml/2006/main" w="28575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4444</cdr:x>
      <cdr:y>0.5</cdr:y>
    </cdr:from>
    <cdr:to>
      <cdr:x>0.44444</cdr:x>
      <cdr:y>0.77333</cdr:y>
    </cdr:to>
    <cdr:cxnSp macro="">
      <cdr:nvCxnSpPr>
        <cdr:cNvPr id="5" name="Straight Connector 4"/>
        <cdr:cNvCxnSpPr/>
      </cdr:nvCxnSpPr>
      <cdr:spPr>
        <a:xfrm xmlns:a="http://schemas.openxmlformats.org/drawingml/2006/main">
          <a:off x="5181600" y="2857500"/>
          <a:ext cx="0" cy="1562100"/>
        </a:xfrm>
        <a:prstGeom xmlns:a="http://schemas.openxmlformats.org/drawingml/2006/main" prst="line">
          <a:avLst/>
        </a:prstGeom>
        <a:ln xmlns:a="http://schemas.openxmlformats.org/drawingml/2006/main" w="28575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6078</cdr:x>
      <cdr:y>0.76</cdr:y>
    </cdr:from>
    <cdr:to>
      <cdr:x>0.98693</cdr:x>
      <cdr:y>0.89333</cdr:y>
    </cdr:to>
    <cdr:sp macro="" textlink="">
      <cdr:nvSpPr>
        <cdr:cNvPr id="10" name="TextBox 9"/>
        <cdr:cNvSpPr txBox="1"/>
      </cdr:nvSpPr>
      <cdr:spPr>
        <a:xfrm xmlns:a="http://schemas.openxmlformats.org/drawingml/2006/main" rot="16200000">
          <a:off x="10972800" y="4572000"/>
          <a:ext cx="7620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b="1" dirty="0" smtClean="0"/>
            <a:t>9 - Jul</a:t>
          </a:r>
          <a:endParaRPr lang="en-US" sz="16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51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fld id="{671AD1A5-965B-4F93-A2D2-FFAF3119A8B7}" type="datetimeFigureOut">
              <a:rPr lang="en-US" smtClean="0"/>
              <a:t>09-Jul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5112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75" tIns="40138" rIns="80275" bIns="401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80275" tIns="40138" rIns="80275" bIns="401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51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5875EDE6-8A20-4E97-84E3-951DC69F5F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224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75EDE6-8A20-4E97-84E3-951DC69F5F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620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75EDE6-8A20-4E97-84E3-951DC69F5FB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543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758C73-D4EF-5D42-B9EB-DDEE8F3666F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792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758C73-D4EF-5D42-B9EB-DDEE8F3666F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554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758C73-D4EF-5D42-B9EB-DDEE8F3666F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792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758C73-D4EF-5D42-B9EB-DDEE8F3666F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172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758C73-D4EF-5D42-B9EB-DDEE8F3666F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01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AB7873-AFE1-4F66-BAD3-C162A331D653}" type="datetime1">
              <a:rPr lang="en-IN" smtClean="0"/>
              <a:t>09-07-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BB13004-8F96-4DF7-A8BD-25906B832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947" y="983572"/>
            <a:ext cx="567356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26823E6-B1A1-4A5B-B84A-48703D268D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7947" y="1807484"/>
            <a:ext cx="567356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641847F-CC55-4276-8450-7A49270365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28380" y="983572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DF6B4E2-E094-465F-AE14-AF9B62781F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728380" y="1807484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0549E2C-E2E1-4B04-9368-D207A2C2A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2ECF10-2EC4-4588-A2B4-BD66C05CCFC2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AD1CA0-E368-4425-9F5F-7341B7B28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57276F4-12A3-43B4-AC4E-18D54957C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4BE21C35-1F5D-43DB-8A10-056CD71C7CA3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1EB5D9B6-C54A-4A27-B8CC-161436900011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74B2DCBD-2E61-4E3A-A81D-050D4399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39743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C7FA373-EC82-4B6E-BB4D-8B2F62E38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34E810-F096-4555-AD56-0003846DDCC0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1D31024-D4BC-415E-A02C-391F5B7C6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4F24849-7C17-4931-94EB-9276BA262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3CF4652C-3744-4263-9F29-26E2784AE20B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3BF132DE-2C8C-4D65-8A7A-8350C86126B4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7033B66D-36B3-49C7-87BD-12941767F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41517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379B03A-807F-409B-93FB-045CE9C9E3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B7E725-CBF2-4CA1-8AF9-5F69EEA241C5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C76FDCD-2614-4B04-931B-BD11E58D6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41371F9-3326-4883-AB71-DEADD2714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48D2464B-D41D-4CA2-942E-2CC75C5CE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0838657C-B118-4841-A5BB-BAE93DC78EDE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5BFEF059-5986-47E0-A90F-9F89A1A5798F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6953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148AEDD-0838-454D-B3BE-1636A1B44A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1BEDB41-37FC-4438-BB1C-B34F8A9329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F55AD1D-AB10-4AB9-B3CF-B07B7EA5E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F4E500-332B-4A60-AF67-2B7520FA2240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EC88A29-4E54-43D4-B772-279EDC65F2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634EA3C-04B4-4481-8B6A-879069C33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994BCC36-1DD3-4BE0-A43F-9964FE220ACF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84581CB6-5FF4-4642-AF17-511414CC326F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82C1E4B3-600A-4A4F-9E25-E14E0C649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79309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2078A27-6AC9-46F6-88FB-5FCE2B2208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4F2D25F-DB66-4E12-9CF9-17AB3F4D4A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E8DB883-A714-425A-AE60-FF5856778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2F6399-5835-4614-B376-AE3165EA7821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94A6997-B081-41CA-AEDA-DCBE8FEFA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9F1062A-3ACF-4517-855E-56D0E6054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64909AEF-1BD0-4DF3-9AF7-1C94E3227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3758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65923AB-4EDC-4DD1-BF82-21F083363E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AD051F9-9AAE-47F1-B16F-24845274F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0C0799-1A62-45AA-AB0B-AAC27F0BD08A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28BF21A-02E0-4DD3-A238-A14FB3B59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23235E0-373C-41FD-9E96-C67159CB3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9609900B-ECB3-492D-8E20-5DD495A28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88261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8A8ECD8D-6534-44E6-B521-D724945DA1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150069"/>
            <a:ext cx="2628900" cy="5026894"/>
          </a:xfrm>
          <a:prstGeom prst="rect">
            <a:avLst/>
          </a:prstGeom>
          <a:solidFill>
            <a:srgbClr val="002060"/>
          </a:solidFill>
        </p:spPr>
        <p:txBody>
          <a:bodyPr vert="eaVert"/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9D8A7A6-62D2-4EB7-9E0E-A42B54F200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150069"/>
            <a:ext cx="7734300" cy="5026893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F20D726-1425-4C8B-B995-C91F4E6746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2EECF8-9E2D-44AB-8432-6321379F6B5E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E618FDB-48DF-4959-BDA8-C32C58E8B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B4B4BBB-5D6B-4E6F-BABD-44BEFD513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C385F57B-00C2-4F28-A47E-2D6BD7A2A759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j-ea"/>
                <a:cs typeface="+mj-cs"/>
              </a:rPr>
              <a:t>Click to edit Master title style</a:t>
            </a:r>
            <a:endParaRPr kumimoji="0" lang="en-IN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21027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70104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7620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677671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6F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684783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0" y="2377439"/>
            <a:ext cx="12192000" cy="2387600"/>
          </a:xfrm>
          <a:custGeom>
            <a:avLst/>
            <a:gdLst/>
            <a:ahLst/>
            <a:cxnLst/>
            <a:rect l="l" t="t" r="r" b="b"/>
            <a:pathLst>
              <a:path w="12192000" h="2387600">
                <a:moveTo>
                  <a:pt x="0" y="2387600"/>
                </a:moveTo>
                <a:lnTo>
                  <a:pt x="12192000" y="2387600"/>
                </a:lnTo>
                <a:lnTo>
                  <a:pt x="12192000" y="0"/>
                </a:lnTo>
                <a:lnTo>
                  <a:pt x="0" y="0"/>
                </a:lnTo>
                <a:lnTo>
                  <a:pt x="0" y="238760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C59F65-6F05-4317-A946-73033736E0C4}" type="datetime1">
              <a:rPr lang="en-IN" smtClean="0"/>
              <a:t>09-07-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4969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0395CA-A57E-48A5-B114-58016CD2BB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C8D0294-8ADA-49A5-A767-8D2BAC16A6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8ED8668-E288-49E4-BAE7-B14675620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03790A-26AD-4FD8-97F8-FE6AD4DF9E85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AFEEAB-D96D-45BE-BB04-765F4EA3D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4484E5A-52EA-40D0-B77C-8053C39B7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5272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B0FE9-3536-43A4-9994-F74623364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26477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7B7A0A5-5283-4EFB-8503-F28B5570D8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885" y="1178169"/>
            <a:ext cx="11711353" cy="4998794"/>
          </a:xfrm>
        </p:spPr>
        <p:txBody>
          <a:bodyPr/>
          <a:lstStyle>
            <a:lvl2pPr marL="685800" indent="-228600">
              <a:buSzPct val="80000"/>
              <a:buFont typeface="Courier New" panose="02070309020205020404" pitchFamily="49" charset="0"/>
              <a:buChar char="o"/>
              <a:defRPr/>
            </a:lvl2pPr>
            <a:lvl3pPr marL="1143000" indent="-228600">
              <a:buSzPct val="60000"/>
              <a:buFont typeface="Calibri" panose="020F0502020204030204" pitchFamily="34" charset="0"/>
              <a:buChar char="−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2C8F55F-CEBA-4C04-ACB5-8A8DEA2CFA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089E9C-689D-464A-AE41-75ADB3E9423D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1919D38-0F38-4FF5-AC44-150B4AFAE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EABF44D-C1B1-4D6D-8BA7-4B028D1D8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ACA79A68-E463-473F-8821-0A96E02BA97A}"/>
              </a:ext>
            </a:extLst>
          </p:cNvPr>
          <p:cNvCxnSpPr/>
          <p:nvPr userDrawn="1"/>
        </p:nvCxnSpPr>
        <p:spPr>
          <a:xfrm>
            <a:off x="0" y="826477"/>
            <a:ext cx="12192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179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45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ADFC4F-D05F-4813-91B1-0EC6496E7A76}" type="datetime1">
              <a:rPr lang="en-IN" smtClean="0"/>
              <a:t>09-07-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5A1BB5-D41E-46BC-B268-CC5710B89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06A9782-947C-499D-9FD6-C96B67CFA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63055C-48FF-4826-A3D6-2D2BD5EEE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BAB906-9775-4D41-9705-5485C8DFD70E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0B3F644-83ED-42A5-AE6D-9E679C846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EE03996-F3C3-4696-8213-9E6032AB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9861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76481B-0E2F-4F14-8606-62C8784B6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1B43FBC-D72D-4E7D-881B-597AE07DA6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7A0D384-75A8-4ABD-997F-251C6D17E0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5AC93D1-D7EE-43B8-AF00-D19C749F3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8963311-76A8-4F19-81AA-3202DD5ED5EF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5958ADE-FD7A-41E1-9A3E-16AD016DB9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97DE8B1-19D5-4DD4-98AF-CFA03CA30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626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21CC09-3E93-4901-9BF9-78F984548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78697B8-7096-4660-824E-BF34237961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1702249-3347-4CC7-BF65-2301506C55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DA702F2-3D85-4D7F-839C-A649C51C4B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AE0E21B-AA25-4447-95E6-08AE909F1C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AFEE5DD-D5B8-4F31-984C-97F7C222D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BD645D-7B3C-4C1D-8D2D-2F9D46B81447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A1F8664-45D2-4851-B89F-705862D7E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B948F22-F215-4AE3-ABAC-7584070DD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644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D1E49A-D786-4C0E-A148-FFF5601FA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8647C08-7B0C-486B-BC6E-ED28F90DE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9A8742-6F8F-4675-BE51-BB032249DAAE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32C1AF5-D3DB-4B6B-A265-CF9771575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2A11298-3EEB-49EE-B319-60E76715B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169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6EFF7B9-D4F0-48C0-86A0-21885744C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35B0FD-6C80-42BA-9967-2281848C45D1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B092ADF-8B61-445A-A5F9-C8C09A1D8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1455AF0-7CA6-4B48-AE82-D54A2234D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6195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5FA60A-250C-4B8F-AFE9-AA75DA046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40E3BB5-A4D6-40F1-8A9B-25E8407C7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9238C54-29BF-42E7-B126-5553C6D806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3EA6AC2-1F18-4761-B3AB-4BF1A5D10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DE67A7-1ED7-4878-9F3F-7F42506E6EF5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BCF21C2-A52E-4827-855A-3A239F7DB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FDC10AD-353D-4EE0-8DAF-761FD254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195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5668FF-740E-49B9-8271-4351C335E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F2629D8D-6C11-4D15-B02B-3B47AFF516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D8EAA58-40A3-44AB-B99A-CB86CC1A8D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B8057BA-5617-4489-8547-82FF41AC7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ECE8FB-762A-496F-B737-2EF0AFD5ABD6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B7EE922-7266-44AB-AC7F-D6C187403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0725DD5-72AA-4A30-B320-68E1C397B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863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881A78-16A7-430C-9935-227AA7A3E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3D54592-BD20-4495-912B-6017DD8C60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98E9AF7-80A2-4788-9AA3-D6B497DCA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FFE644-78DA-4EFF-8E19-EC6CE29B3FBC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7563E28-F743-4CCC-9F1E-57CF1C49E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837DD1C-BCA6-4A03-9065-AC4139067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5844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F853A02-19ED-4F0D-9D9C-14E32F4737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10E0B74B-5D49-4B9D-987C-8B2CE20512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D96DED4-8890-46D6-96BA-6741FB575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4BCA74-E4FF-4253-BB25-81D61DF39ECA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6C94BA4-372D-47ED-B801-4C7E3B97C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BBF1E55-3605-4E3F-BBC5-71A132130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48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80719"/>
            <a:ext cx="12192000" cy="40640"/>
          </a:xfrm>
          <a:custGeom>
            <a:avLst/>
            <a:gdLst/>
            <a:ahLst/>
            <a:cxnLst/>
            <a:rect l="l" t="t" r="r" b="b"/>
            <a:pathLst>
              <a:path w="12192000" h="40640">
                <a:moveTo>
                  <a:pt x="0" y="40640"/>
                </a:moveTo>
                <a:lnTo>
                  <a:pt x="12192000" y="40640"/>
                </a:lnTo>
                <a:lnTo>
                  <a:pt x="12192000" y="0"/>
                </a:lnTo>
                <a:lnTo>
                  <a:pt x="0" y="0"/>
                </a:lnTo>
                <a:lnTo>
                  <a:pt x="0" y="4064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7620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684783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0"/>
            <a:ext cx="12192000" cy="680720"/>
          </a:xfrm>
          <a:custGeom>
            <a:avLst/>
            <a:gdLst/>
            <a:ahLst/>
            <a:cxnLst/>
            <a:rect l="l" t="t" r="r" b="b"/>
            <a:pathLst>
              <a:path w="12192000" h="680720">
                <a:moveTo>
                  <a:pt x="0" y="680720"/>
                </a:moveTo>
                <a:lnTo>
                  <a:pt x="12192000" y="680720"/>
                </a:lnTo>
                <a:lnTo>
                  <a:pt x="12192000" y="0"/>
                </a:lnTo>
                <a:lnTo>
                  <a:pt x="0" y="0"/>
                </a:lnTo>
                <a:lnTo>
                  <a:pt x="0" y="68072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45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42050" y="1222247"/>
            <a:ext cx="5435600" cy="40982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E94EC-7BFC-48EF-9D1D-947B2283BFAA}" type="datetime1">
              <a:rPr lang="en-IN" smtClean="0"/>
              <a:t>09-07-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45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3CBCB3-E399-487E-8C85-8187AB4F3FF0}" type="datetime1">
              <a:rPr lang="en-IN" smtClean="0"/>
              <a:t>09-07-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70104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7620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677671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6F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684783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0" y="2377439"/>
            <a:ext cx="12192000" cy="2387600"/>
          </a:xfrm>
          <a:custGeom>
            <a:avLst/>
            <a:gdLst/>
            <a:ahLst/>
            <a:cxnLst/>
            <a:rect l="l" t="t" r="r" b="b"/>
            <a:pathLst>
              <a:path w="12192000" h="2387600">
                <a:moveTo>
                  <a:pt x="0" y="2387600"/>
                </a:moveTo>
                <a:lnTo>
                  <a:pt x="12192000" y="2387600"/>
                </a:lnTo>
                <a:lnTo>
                  <a:pt x="12192000" y="0"/>
                </a:lnTo>
                <a:lnTo>
                  <a:pt x="0" y="0"/>
                </a:lnTo>
                <a:lnTo>
                  <a:pt x="0" y="238760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53A48C-A26A-487F-97C6-AC3F4C6A7A8A}" type="datetime1">
              <a:rPr lang="en-IN" smtClean="0"/>
              <a:t>09-07-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6CC163-7C81-4D4D-A2BB-8E44C22C19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6800" y="2281863"/>
            <a:ext cx="100584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6000"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20C35D5-62BB-4E56-8818-3859E64F0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6800" y="4761538"/>
            <a:ext cx="10058400" cy="1179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>
                <a:latin typeface="Gill Sans MT" panose="020B05020201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4106AB8-C6F9-4C4F-9DA8-064A32535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0673A2-8DBD-4034-9462-490D67B962B5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0E74082-E7BD-4CB8-B4C0-0FB678729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7DEDB82-0C33-4D45-A8D0-18C5D7EC3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oogle Shape;87;p1" descr="Image result for LOGO MoHFW">
            <a:extLst>
              <a:ext uri="{FF2B5EF4-FFF2-40B4-BE49-F238E27FC236}">
                <a16:creationId xmlns:a16="http://schemas.microsoft.com/office/drawing/2014/main" xmlns="" id="{1CE24E85-87DC-4CEA-BDBF-18B295E4125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4828629" y="887433"/>
            <a:ext cx="2534743" cy="131798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0ED14A4A-CC2C-423B-9EAD-3E2C30CE4192}"/>
              </a:ext>
            </a:extLst>
          </p:cNvPr>
          <p:cNvCxnSpPr>
            <a:cxnSpLocks/>
          </p:cNvCxnSpPr>
          <p:nvPr userDrawn="1"/>
        </p:nvCxnSpPr>
        <p:spPr>
          <a:xfrm>
            <a:off x="0" y="6650870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4FA0BBB-53F2-4D2B-BD77-749690789B86}"/>
              </a:ext>
            </a:extLst>
          </p:cNvPr>
          <p:cNvCxnSpPr>
            <a:cxnSpLocks/>
          </p:cNvCxnSpPr>
          <p:nvPr userDrawn="1"/>
        </p:nvCxnSpPr>
        <p:spPr>
          <a:xfrm>
            <a:off x="0" y="6718429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536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E71997-F1F1-4A18-9DD5-F4371FB98196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07807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2ECBA5-3102-42C7-AC14-72112BC9F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A2920F6-B2A0-46D0-A960-BC16639EEE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0C34F6A-4778-4A44-9FA5-DE2419722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75B3D4-DFC3-40AA-92B7-7F93AE730A01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18095FC-EDF6-431F-8010-BB29C6CFEA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4C45208-44FE-42B1-BFA6-3F8760673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F48B0400-4529-4D7F-81B4-4DA36BD4B1FE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E4705839-3FD7-476C-B28E-E25001134D8D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06172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A6297F-99AA-4B41-91DF-F29450835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</p:spPr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DBCF399-A6C1-4070-8173-3022C35FF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09807E-A1FE-4CCF-9A02-36F3CE8289E0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905DC44-35D8-4872-9083-4B9817F80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CC31F6A-6DE6-4895-B45A-C26451F83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24036936-353C-4804-BE0D-70C40588D4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7947" y="983572"/>
            <a:ext cx="567356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3ECB3C8D-7295-4A8E-A93C-95D2C1F62D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7947" y="1807484"/>
            <a:ext cx="5673566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13F4B810-57A6-40DD-98BA-468F8A09A9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28380" y="983572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xmlns="" id="{AE017C3A-52B8-440F-9C83-5A14B3029F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728380" y="1807484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E9E320F-A4BA-45AD-9791-7821B00F1498}"/>
              </a:ext>
            </a:extLst>
          </p:cNvPr>
          <p:cNvCxnSpPr>
            <a:cxnSpLocks/>
          </p:cNvCxnSpPr>
          <p:nvPr userDrawn="1"/>
        </p:nvCxnSpPr>
        <p:spPr>
          <a:xfrm>
            <a:off x="0" y="6777875"/>
            <a:ext cx="12192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F042136F-E346-465A-BE23-410738EC2437}"/>
              </a:ext>
            </a:extLst>
          </p:cNvPr>
          <p:cNvCxnSpPr>
            <a:cxnSpLocks/>
          </p:cNvCxnSpPr>
          <p:nvPr userDrawn="1"/>
        </p:nvCxnSpPr>
        <p:spPr>
          <a:xfrm>
            <a:off x="0" y="6845434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0786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99EFFF8-FC09-4622-A3C0-ED321B988E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427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0" y="680719"/>
            <a:ext cx="12192000" cy="40640"/>
          </a:xfrm>
          <a:custGeom>
            <a:avLst/>
            <a:gdLst/>
            <a:ahLst/>
            <a:cxnLst/>
            <a:rect l="l" t="t" r="r" b="b"/>
            <a:pathLst>
              <a:path w="12192000" h="40640">
                <a:moveTo>
                  <a:pt x="0" y="40640"/>
                </a:moveTo>
                <a:lnTo>
                  <a:pt x="12192000" y="40640"/>
                </a:lnTo>
                <a:lnTo>
                  <a:pt x="12192000" y="0"/>
                </a:lnTo>
                <a:lnTo>
                  <a:pt x="0" y="0"/>
                </a:lnTo>
                <a:lnTo>
                  <a:pt x="0" y="4064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7620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830954" y="2435225"/>
            <a:ext cx="4530090" cy="8648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5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87477" y="1230502"/>
            <a:ext cx="11617045" cy="4156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01F25-E664-40BA-8C2E-4905021C1AA7}" type="datetime1">
              <a:rPr lang="en-IN" smtClean="0"/>
              <a:t>09-07-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C559B8FB-E4FA-4C41-8C99-40FA44DAF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54830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5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C559B8FB-E4FA-4C41-8C99-40FA44DAF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626F465-C3D6-4F45-BA34-592268710E5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Gill Sans MT" panose="020B0502020104020203" pitchFamily="34" charset="0"/>
              <a:ea typeface="+mj-ea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CE6EF0B-AC62-4519-A444-E593C87E5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103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D9DEC6F-1B06-4A2D-8ADB-6B81B6978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2087" y="873516"/>
            <a:ext cx="118078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9EE8F24-2017-4402-AB74-33C32D4373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29204-0DD2-4359-AF21-4DD51D44F4C1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-07-2020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CE903CD-1701-4AA7-AF0C-2E77461D1F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FE1CB2-9535-49A2-8F73-183FF8D3C1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0A4148-0428-4C59-A367-E0A00B4778C2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667A900C-EB4D-482C-9EAC-63DAB1E0951E}"/>
              </a:ext>
            </a:extLst>
          </p:cNvPr>
          <p:cNvCxnSpPr>
            <a:cxnSpLocks/>
          </p:cNvCxnSpPr>
          <p:nvPr userDrawn="1"/>
        </p:nvCxnSpPr>
        <p:spPr>
          <a:xfrm>
            <a:off x="0" y="697581"/>
            <a:ext cx="12192000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260345AD-0B64-4D64-BF00-9B4089BFC9F2}"/>
              </a:ext>
            </a:extLst>
          </p:cNvPr>
          <p:cNvCxnSpPr>
            <a:cxnSpLocks/>
          </p:cNvCxnSpPr>
          <p:nvPr userDrawn="1"/>
        </p:nvCxnSpPr>
        <p:spPr>
          <a:xfrm>
            <a:off x="0" y="765140"/>
            <a:ext cx="12192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625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21">
          <p15:clr>
            <a:srgbClr val="F26B43"/>
          </p15:clr>
        </p15:guide>
        <p15:guide id="4" pos="755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7F679B62-77D7-4959-955C-344B23AF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78E5B30-D5BF-47AC-B248-47725868E2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11AC62C-A044-4FD7-BF38-B109096B4D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A77BD34-BE69-4CC2-9C75-F2A921F40447}" type="datetime1">
              <a:rPr lang="en-IN" smtClean="0">
                <a:solidFill>
                  <a:prstClr val="black">
                    <a:tint val="75000"/>
                  </a:prstClr>
                </a:solidFill>
              </a:rPr>
              <a:t>09-07-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A2B48DB-9F86-4EF3-9B1B-1E3C90F40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9AD421-3BC7-4BBA-B35C-DFE8484A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B19DAF6-4D80-48AB-8177-F24DCDF9CE2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927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chart" Target="../charts/chart7.xml"/><Relationship Id="rId39" Type="http://schemas.openxmlformats.org/officeDocument/2006/relationships/image" Target="../media/image7.png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image" Target="../media/image50.sv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notesSlide" Target="../notesSlides/notesSlide6.xml"/><Relationship Id="rId33" Type="http://schemas.openxmlformats.org/officeDocument/2006/relationships/image" Target="../media/image4.png"/><Relationship Id="rId38" Type="http://schemas.openxmlformats.org/officeDocument/2006/relationships/image" Target="../media/image54.sv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slideLayout" Target="../slideLayouts/slideLayout19.xml"/><Relationship Id="rId32" Type="http://schemas.openxmlformats.org/officeDocument/2006/relationships/image" Target="../media/image48.svg"/><Relationship Id="rId37" Type="http://schemas.openxmlformats.org/officeDocument/2006/relationships/image" Target="../media/image6.png"/><Relationship Id="rId40" Type="http://schemas.openxmlformats.org/officeDocument/2006/relationships/image" Target="../media/image56.svg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36" Type="http://schemas.openxmlformats.org/officeDocument/2006/relationships/image" Target="../media/image52.sv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image" Target="../media/image3.png"/><Relationship Id="rId35" Type="http://schemas.openxmlformats.org/officeDocument/2006/relationships/image" Target="../media/image5.png"/><Relationship Id="rId8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slideLayout" Target="../slideLayouts/slideLayout19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8E77C286-2E66-4483-836E-0BDE690425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346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0" y="70104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7620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654800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6FAC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6715759"/>
            <a:ext cx="12192000" cy="0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4064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0" y="1981200"/>
            <a:ext cx="12192000" cy="2883109"/>
          </a:xfrm>
          <a:custGeom>
            <a:avLst/>
            <a:gdLst/>
            <a:ahLst/>
            <a:cxnLst/>
            <a:rect l="l" t="t" r="r" b="b"/>
            <a:pathLst>
              <a:path w="12192000" h="2387600">
                <a:moveTo>
                  <a:pt x="0" y="2387600"/>
                </a:moveTo>
                <a:lnTo>
                  <a:pt x="12192000" y="2387600"/>
                </a:lnTo>
                <a:lnTo>
                  <a:pt x="12192000" y="0"/>
                </a:lnTo>
                <a:lnTo>
                  <a:pt x="0" y="0"/>
                </a:lnTo>
                <a:lnTo>
                  <a:pt x="0" y="238760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95788" y="1981200"/>
            <a:ext cx="11000423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335" algn="ctr">
              <a:lnSpc>
                <a:spcPct val="100000"/>
              </a:lnSpc>
            </a:pPr>
            <a:r>
              <a:rPr lang="en-US" sz="6000" dirty="0">
                <a:latin typeface="Gill Sans MT" panose="020B0502020104020203" pitchFamily="34" charset="0"/>
              </a:rPr>
              <a:t>Government of India</a:t>
            </a:r>
            <a:br>
              <a:rPr lang="en-US" sz="6000" dirty="0">
                <a:latin typeface="Gill Sans MT" panose="020B0502020104020203" pitchFamily="34" charset="0"/>
              </a:rPr>
            </a:br>
            <a:r>
              <a:rPr lang="en-US" sz="6000" dirty="0">
                <a:latin typeface="Gill Sans MT" panose="020B0502020104020203" pitchFamily="34" charset="0"/>
              </a:rPr>
              <a:t>PIB </a:t>
            </a:r>
            <a:br>
              <a:rPr lang="en-US" sz="6000" dirty="0">
                <a:latin typeface="Gill Sans MT" panose="020B0502020104020203" pitchFamily="34" charset="0"/>
              </a:rPr>
            </a:br>
            <a:r>
              <a:rPr lang="en-US" sz="6000" dirty="0">
                <a:latin typeface="Gill Sans MT" panose="020B0502020104020203" pitchFamily="34" charset="0"/>
              </a:rPr>
              <a:t>Press Briefing</a:t>
            </a:r>
            <a:endParaRPr dirty="0"/>
          </a:p>
        </p:txBody>
      </p:sp>
      <p:sp>
        <p:nvSpPr>
          <p:cNvPr id="11" name="object 11"/>
          <p:cNvSpPr txBox="1"/>
          <p:nvPr/>
        </p:nvSpPr>
        <p:spPr>
          <a:xfrm>
            <a:off x="11892533" y="6446837"/>
            <a:ext cx="10287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6C966D2B-E8D5-4F6A-83EF-1EF4471D687E}"/>
              </a:ext>
            </a:extLst>
          </p:cNvPr>
          <p:cNvSpPr txBox="1">
            <a:spLocks/>
          </p:cNvSpPr>
          <p:nvPr/>
        </p:nvSpPr>
        <p:spPr>
          <a:xfrm>
            <a:off x="1066800" y="5055981"/>
            <a:ext cx="10058400" cy="7352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/>
              <a:t>9</a:t>
            </a:r>
            <a:r>
              <a:rPr lang="en-US" sz="4800" baseline="30000" dirty="0"/>
              <a:t>th</a:t>
            </a:r>
            <a:r>
              <a:rPr lang="en-US" sz="4800" dirty="0"/>
              <a:t> July 202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8">
            <a:extLst>
              <a:ext uri="{FF2B5EF4-FFF2-40B4-BE49-F238E27FC236}">
                <a16:creationId xmlns:a16="http://schemas.microsoft.com/office/drawing/2014/main" xmlns="" id="{CA4C2D80-0DB9-4D49-B4AD-560A6293ACCF}"/>
              </a:ext>
            </a:extLst>
          </p:cNvPr>
          <p:cNvSpPr txBox="1">
            <a:spLocks/>
          </p:cNvSpPr>
          <p:nvPr/>
        </p:nvSpPr>
        <p:spPr>
          <a:xfrm>
            <a:off x="762000" y="3009654"/>
            <a:ext cx="11049000" cy="8386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3335" algn="ctr"/>
            <a:r>
              <a:rPr lang="en-US" sz="5450" kern="0" dirty="0">
                <a:solidFill>
                  <a:schemeClr val="bg1"/>
                </a:solidFill>
                <a:latin typeface="Gill Sans MT" panose="020B05020201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3685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5E61B8F-BDF1-4505-A926-443A5C5EF613}"/>
              </a:ext>
            </a:extLst>
          </p:cNvPr>
          <p:cNvSpPr/>
          <p:nvPr/>
        </p:nvSpPr>
        <p:spPr>
          <a:xfrm>
            <a:off x="10993192" y="916325"/>
            <a:ext cx="817808" cy="4874874"/>
          </a:xfrm>
          <a:prstGeom prst="rect">
            <a:avLst/>
          </a:prstGeom>
          <a:solidFill>
            <a:schemeClr val="accent5">
              <a:lumMod val="20000"/>
              <a:lumOff val="80000"/>
              <a:alpha val="28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A7F6F8-07EA-42B2-A881-D1574C0C5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Gill Sans MT" panose="020B0502020104020203" pitchFamily="34" charset="0"/>
              </a:rPr>
              <a:t>India is the second most populous country </a:t>
            </a:r>
            <a:r>
              <a:rPr lang="en-US" dirty="0" smtClean="0">
                <a:latin typeface="Gill Sans MT" panose="020B0502020104020203" pitchFamily="34" charset="0"/>
              </a:rPr>
              <a:t>of </a:t>
            </a:r>
            <a:r>
              <a:rPr lang="en-US" dirty="0">
                <a:latin typeface="Gill Sans MT" panose="020B0502020104020203" pitchFamily="34" charset="0"/>
              </a:rPr>
              <a:t>the worl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xmlns="" id="{1576E3E8-67C1-494E-87F9-96CAE6F8699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8273323"/>
              </p:ext>
            </p:extLst>
          </p:nvPr>
        </p:nvGraphicFramePr>
        <p:xfrm>
          <a:off x="401391" y="916325"/>
          <a:ext cx="11498837" cy="487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1143000" y="6096000"/>
            <a:ext cx="10757229" cy="45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206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0" b="1" dirty="0" smtClean="0"/>
              <a:t>Inspite of a population of </a:t>
            </a:r>
            <a:r>
              <a:rPr lang="en-US" sz="2000" b="1" dirty="0"/>
              <a:t>1.3 billion </a:t>
            </a:r>
            <a:r>
              <a:rPr lang="en-US" sz="2000" b="1" dirty="0" smtClean="0"/>
              <a:t>people, India has been able to manage Covid-19 relatively well</a:t>
            </a:r>
            <a:endParaRPr lang="en-US" sz="2000" b="1" dirty="0"/>
          </a:p>
        </p:txBody>
      </p:sp>
      <p:sp>
        <p:nvSpPr>
          <p:cNvPr id="4" name="TextBox 3"/>
          <p:cNvSpPr txBox="1"/>
          <p:nvPr/>
        </p:nvSpPr>
        <p:spPr>
          <a:xfrm rot="16200000">
            <a:off x="-1072633" y="3434834"/>
            <a:ext cx="266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opulation (in millions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8526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DD0689-2427-4A05-9842-AE6B9DBAFBCB}"/>
              </a:ext>
            </a:extLst>
          </p:cNvPr>
          <p:cNvSpPr/>
          <p:nvPr/>
        </p:nvSpPr>
        <p:spPr>
          <a:xfrm>
            <a:off x="2262696" y="4762235"/>
            <a:ext cx="785304" cy="1195446"/>
          </a:xfrm>
          <a:prstGeom prst="rect">
            <a:avLst/>
          </a:prstGeom>
          <a:solidFill>
            <a:schemeClr val="accent5">
              <a:lumMod val="20000"/>
              <a:lumOff val="80000"/>
              <a:alpha val="28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A7F6F8-07EA-42B2-A881-D1574C0C5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atin typeface="Gill Sans MT" panose="020B0502020104020203" pitchFamily="34" charset="0"/>
              </a:rPr>
              <a:t>Cases per Million Population - Amongst the Lowest in the World 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xmlns="" id="{1576E3E8-67C1-494E-87F9-96CAE6F8699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6886692"/>
              </p:ext>
            </p:extLst>
          </p:nvPr>
        </p:nvGraphicFramePr>
        <p:xfrm>
          <a:off x="304800" y="916673"/>
          <a:ext cx="11737682" cy="5644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16F8042-D88B-462A-A2B8-B31FEFB1EFE5}"/>
              </a:ext>
            </a:extLst>
          </p:cNvPr>
          <p:cNvSpPr/>
          <p:nvPr/>
        </p:nvSpPr>
        <p:spPr>
          <a:xfrm>
            <a:off x="53499" y="6596390"/>
            <a:ext cx="329930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Gill Sans MT" panose="020B0502020104020203" pitchFamily="34" charset="0"/>
              </a:rPr>
              <a:t>as per WHO Situation Report 170 dated 8</a:t>
            </a:r>
            <a:r>
              <a:rPr lang="en-US" sz="1100" baseline="30000" dirty="0">
                <a:solidFill>
                  <a:prstClr val="black"/>
                </a:solidFill>
                <a:latin typeface="Gill Sans MT" panose="020B0502020104020203" pitchFamily="34" charset="0"/>
              </a:rPr>
              <a:t>th</a:t>
            </a:r>
            <a:r>
              <a:rPr lang="en-US" sz="1100" dirty="0">
                <a:solidFill>
                  <a:prstClr val="black"/>
                </a:solidFill>
                <a:latin typeface="Gill Sans MT" panose="020B0502020104020203" pitchFamily="34" charset="0"/>
              </a:rPr>
              <a:t> July, 2020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43000" y="6082443"/>
            <a:ext cx="10899482" cy="47921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206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0" b="1" dirty="0" smtClean="0"/>
              <a:t>Cases per million (population) in US &amp; Peru is 17 times the corresponding figure in India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83062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DD0689-2427-4A05-9842-AE6B9DBAFBCB}"/>
              </a:ext>
            </a:extLst>
          </p:cNvPr>
          <p:cNvSpPr/>
          <p:nvPr/>
        </p:nvSpPr>
        <p:spPr>
          <a:xfrm>
            <a:off x="2246585" y="4724400"/>
            <a:ext cx="725215" cy="1195446"/>
          </a:xfrm>
          <a:prstGeom prst="rect">
            <a:avLst/>
          </a:prstGeom>
          <a:solidFill>
            <a:schemeClr val="accent5">
              <a:lumMod val="20000"/>
              <a:lumOff val="80000"/>
              <a:alpha val="28000"/>
            </a:schemeClr>
          </a:solidFill>
          <a:ln w="12700" cap="flat" cmpd="sng" algn="ctr">
            <a:solidFill>
              <a:schemeClr val="accent5">
                <a:lumMod val="75000"/>
              </a:schemeClr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A7F6F8-07EA-42B2-A881-D1574C0C5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400" dirty="0">
                <a:latin typeface="Gill Sans MT" panose="020B0502020104020203" pitchFamily="34" charset="0"/>
              </a:rPr>
              <a:t>Death per Million Population - Amongst the Lowest in the World 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xmlns="" id="{1576E3E8-67C1-494E-87F9-96CAE6F8699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035066"/>
              </p:ext>
            </p:extLst>
          </p:nvPr>
        </p:nvGraphicFramePr>
        <p:xfrm>
          <a:off x="609600" y="896202"/>
          <a:ext cx="11506200" cy="5644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16F8042-D88B-462A-A2B8-B31FEFB1EFE5}"/>
              </a:ext>
            </a:extLst>
          </p:cNvPr>
          <p:cNvSpPr/>
          <p:nvPr/>
        </p:nvSpPr>
        <p:spPr>
          <a:xfrm>
            <a:off x="0" y="6629400"/>
            <a:ext cx="329930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Gill Sans MT" panose="020B0502020104020203" pitchFamily="34" charset="0"/>
              </a:rPr>
              <a:t>as per WHO Situation Report 170 dated 8</a:t>
            </a:r>
            <a:r>
              <a:rPr lang="en-US" sz="1100" baseline="30000" dirty="0">
                <a:solidFill>
                  <a:prstClr val="black"/>
                </a:solidFill>
                <a:latin typeface="Gill Sans MT" panose="020B0502020104020203" pitchFamily="34" charset="0"/>
              </a:rPr>
              <a:t>th</a:t>
            </a:r>
            <a:r>
              <a:rPr lang="en-US" sz="1100" dirty="0">
                <a:solidFill>
                  <a:prstClr val="black"/>
                </a:solidFill>
                <a:latin typeface="Gill Sans MT" panose="020B0502020104020203" pitchFamily="34" charset="0"/>
              </a:rPr>
              <a:t> July, 2020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43000" y="6082444"/>
            <a:ext cx="10744200" cy="45646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206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0" b="1" dirty="0" smtClean="0"/>
              <a:t>Deaths per million in the UK &amp; Spain are 40 times higher compared to India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321254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F9E99-4BBF-4ED8-9E9A-B2ADF6C1B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atin typeface="Gill Sans MT" panose="020B0502020104020203" pitchFamily="34" charset="0"/>
              </a:rPr>
              <a:t>Active &amp; Recovered Cases – </a:t>
            </a:r>
            <a:r>
              <a:rPr lang="en-US" sz="3600" dirty="0" smtClean="0">
                <a:latin typeface="Gill Sans MT" panose="020B0502020104020203" pitchFamily="34" charset="0"/>
              </a:rPr>
              <a:t>Progressive Increase in Recoveries</a:t>
            </a:r>
            <a:endParaRPr lang="en-IN" sz="3600" dirty="0">
              <a:latin typeface="Gill Sans MT" panose="020B0502020104020203" pitchFamily="34" charset="0"/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208980556"/>
              </p:ext>
            </p:extLst>
          </p:nvPr>
        </p:nvGraphicFramePr>
        <p:xfrm>
          <a:off x="76201" y="950508"/>
          <a:ext cx="12115799" cy="5755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0490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F9E99-4BBF-4ED8-9E9A-B2ADF6C1B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atin typeface="Gill Sans MT" panose="020B0502020104020203" pitchFamily="34" charset="0"/>
              </a:rPr>
              <a:t>Active &amp; Recovered Cases – Recoveries </a:t>
            </a:r>
            <a:r>
              <a:rPr lang="en-US" sz="3600" dirty="0" smtClean="0">
                <a:latin typeface="Gill Sans MT" panose="020B0502020104020203" pitchFamily="34" charset="0"/>
              </a:rPr>
              <a:t>1.75 times Active Cases</a:t>
            </a:r>
            <a:endParaRPr lang="en-IN" sz="3600" dirty="0">
              <a:latin typeface="Gill Sans MT" panose="020B0502020104020203" pitchFamily="34" charset="0"/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568176819"/>
              </p:ext>
            </p:extLst>
          </p:nvPr>
        </p:nvGraphicFramePr>
        <p:xfrm>
          <a:off x="-112594" y="826477"/>
          <a:ext cx="10972800" cy="5909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1431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F9E99-4BBF-4ED8-9E9A-B2ADF6C1B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>
                <a:latin typeface="Gill Sans MT" panose="020B0502020104020203" pitchFamily="34" charset="0"/>
              </a:rPr>
              <a:t>Rising Recovery Rate</a:t>
            </a:r>
            <a:endParaRPr lang="en-IN" sz="3600" dirty="0">
              <a:latin typeface="Gill Sans MT" panose="020B0502020104020203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8B22C930-AB27-474D-A75F-E732874C79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9054306"/>
              </p:ext>
            </p:extLst>
          </p:nvPr>
        </p:nvGraphicFramePr>
        <p:xfrm>
          <a:off x="533400" y="990600"/>
          <a:ext cx="1165860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363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F9E99-4BBF-4ED8-9E9A-B2ADF6C1B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atin typeface="Gill Sans MT" panose="020B0502020104020203" pitchFamily="34" charset="0"/>
              </a:rPr>
              <a:t>Covid-19 deaths in India vs Population</a:t>
            </a:r>
            <a:endParaRPr lang="en-IN" sz="3600" dirty="0">
              <a:latin typeface="Gill Sans MT" panose="020B05020201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2F67967-D4BB-4055-A5C4-DC1063BF47B8}"/>
              </a:ext>
            </a:extLst>
          </p:cNvPr>
          <p:cNvSpPr/>
          <p:nvPr/>
        </p:nvSpPr>
        <p:spPr>
          <a:xfrm>
            <a:off x="6155426" y="992452"/>
            <a:ext cx="5691431" cy="5098795"/>
          </a:xfrm>
          <a:prstGeom prst="rect">
            <a:avLst/>
          </a:prstGeom>
          <a:solidFill>
            <a:srgbClr val="EBC5D0">
              <a:alpha val="38000"/>
            </a:srgbClr>
          </a:solidFill>
          <a:ln w="12700" cap="flat" cmpd="sng" algn="ctr">
            <a:solidFill>
              <a:srgbClr val="E71C57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3D889B3-1E28-4069-8EE8-D8E30DD2C9A4}"/>
              </a:ext>
            </a:extLst>
          </p:cNvPr>
          <p:cNvSpPr txBox="1"/>
          <p:nvPr/>
        </p:nvSpPr>
        <p:spPr>
          <a:xfrm>
            <a:off x="6324600" y="990600"/>
            <a:ext cx="55222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High risk population</a:t>
            </a:r>
          </a:p>
          <a:p>
            <a:r>
              <a:rPr lang="en-US" b="1" dirty="0">
                <a:solidFill>
                  <a:srgbClr val="575757"/>
                </a:solidFill>
              </a:rPr>
              <a:t>25% of India's population</a:t>
            </a:r>
          </a:p>
          <a:p>
            <a:r>
              <a:rPr lang="en-US" b="1" dirty="0">
                <a:solidFill>
                  <a:srgbClr val="FF0000"/>
                </a:solidFill>
              </a:rPr>
              <a:t>85% </a:t>
            </a:r>
            <a:r>
              <a:rPr lang="en-US" b="1" dirty="0">
                <a:solidFill>
                  <a:srgbClr val="575757"/>
                </a:solidFill>
              </a:rPr>
              <a:t>of India's COVID-19 linked deaths</a:t>
            </a:r>
          </a:p>
          <a:p>
            <a:pPr algn="ctr"/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34D586D-A646-47EF-9AAE-354A8798B2C6}"/>
              </a:ext>
            </a:extLst>
          </p:cNvPr>
          <p:cNvSpPr/>
          <p:nvPr/>
        </p:nvSpPr>
        <p:spPr>
          <a:xfrm>
            <a:off x="346072" y="992452"/>
            <a:ext cx="5691431" cy="5098795"/>
          </a:xfrm>
          <a:prstGeom prst="rect">
            <a:avLst/>
          </a:prstGeom>
          <a:solidFill>
            <a:srgbClr val="C9E7CA">
              <a:alpha val="25000"/>
            </a:srgbClr>
          </a:solidFill>
          <a:ln w="12700" cap="flat" cmpd="sng" algn="ctr">
            <a:solidFill>
              <a:srgbClr val="29BA74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xmlns="" id="{F99C12D1-D92A-4C72-A169-89CC6EFA3D7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95245"/>
              </p:ext>
            </p:extLst>
          </p:nvPr>
        </p:nvGraphicFramePr>
        <p:xfrm>
          <a:off x="317500" y="2033677"/>
          <a:ext cx="11558588" cy="2737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6230828-1C53-43E7-B2CF-3014A07E0374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0447338" y="4765228"/>
            <a:ext cx="793750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C62FBA-1BDB-4285-8955-1D64E9621A54}" type="datetime'&gt;''''''''=''''''7''''''''5'''''''''''' ''y''''''r''''s''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&gt;=75 yrs</a:t>
            </a:fld>
            <a:endParaRPr lang="en-US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B55E012-96D4-4666-97D1-CDE9852CA74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31838" y="2117277"/>
            <a:ext cx="506413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E64CAC-0333-4338-B9F1-D69CC7EF9850}" type="datetime'''''''''''''''''''3''''''''''''''''''''''''5''''''''%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32D0D95-CBC8-47E2-B202-FE1AE0EF278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952500" y="4765228"/>
            <a:ext cx="793750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A8EAE0-E80E-4D88-B549-9685544CCCB1}" type="datetime'''''&lt;''''''''''''''''=14'''' ''''''''y''''''''r''''''s''''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&lt;=14 yrs</a:t>
            </a:fld>
            <a:endParaRPr lang="en-US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B87A6F6-DDB6-45E2-BC76-E2A8BA54325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397875" y="4765228"/>
            <a:ext cx="1096963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583DD7-A8DA-450A-80A9-23F57A741128}" type="datetime'6''0'' ''''''''''''''''to ''''''''''74'' ''''''''y''''''rs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60 to 74 yrs</a:t>
            </a:fld>
            <a:endParaRPr lang="en-US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2E9734B-7071-4C1D-858E-5C5DAF13200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429375" y="3407914"/>
            <a:ext cx="506413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DD360E1-8811-44F2-AC82-B3524B82F137}" type="datetime'''''''''''1''''''''''''''''''''''''''''5''''''''%''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E6D1FDE-4A35-4A5C-B226-4E59AE3C09E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713288" y="4765228"/>
            <a:ext cx="86677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0AF0F9-2553-4E78-B69E-93892E2909F8}" type="datetime'''3''''''0-''''''''''''''4''4 ''''''''y''''''r''''''''''''s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30-44 yrs</a:t>
            </a:fld>
            <a:endParaRPr lang="en-US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AD0E3424-6923-4CCB-B00A-43742F3EA54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489074" y="4235002"/>
            <a:ext cx="452438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1111BE-808F-4BE0-9486-F92DC645FC5D}" type="datetime'''''''''''''''''''''''''''''''''''''''''''1%'''''''''''''">
              <a:rPr lang="en-US" altLang="en-US" sz="2400" b="1" smtClean="0">
                <a:solidFill>
                  <a:srgbClr val="29BA74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US" sz="2400" b="1" dirty="0">
              <a:solidFill>
                <a:srgbClr val="29BA74"/>
              </a:solidFill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9416C2F3-CD1D-4568-8CBA-890879B1E8B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613525" y="4765228"/>
            <a:ext cx="86677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3F7E3B-0C28-4C78-9098-E83C28C75A7A}" type="datetime'4''5-''59'''''' ''y''''''rs''''''''''''''''''''''''''''''''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45-59 yrs</a:t>
            </a:fld>
            <a:endParaRPr lang="en-US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0FFCE3B-BBCE-4784-AE12-BF2A7CBDA23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814638" y="4765228"/>
            <a:ext cx="86677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8F89EE-920C-4F41-8C35-4CD55AE32611}" type="datetime'1''''5''-2''''''''''9'''''' y''r''''''''''s'''''">
              <a:rPr lang="en-US" altLang="en-US" smtClean="0">
                <a:solidFill>
                  <a:schemeClr val="accent1"/>
                </a:solidFill>
                <a:sym typeface="+mn-lt"/>
              </a:rPr>
              <a:pPr/>
              <a:t>15-29 yrs</a:t>
            </a:fld>
            <a:endParaRPr lang="en-US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46106E51-CF3A-4E56-AAC0-FA4912C9BC7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630488" y="3165027"/>
            <a:ext cx="506413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F933E1-9DA4-4FAE-9110-110BD3575247}" type="datetime'''''1''''''8''%''''''''''''''''''''''''''''''''''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D903DED6-3F4B-4710-9D5B-BEC68F73FDD7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387724" y="4127052"/>
            <a:ext cx="452438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AAE8B36-FC37-4C3D-A6BC-934EEDC50167}" type="datetime'''3''''''''''''''''''%'">
              <a:rPr lang="en-US" altLang="en-US" sz="2400" b="1" smtClean="0">
                <a:solidFill>
                  <a:srgbClr val="29BA74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US" sz="2400" b="1">
              <a:solidFill>
                <a:srgbClr val="29BA74"/>
              </a:solidFill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F06AA04A-D70B-4CA5-AF87-811AFB7D6D4D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529138" y="2963415"/>
            <a:ext cx="506413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4705790-3877-47A2-95E6-3C6818E06A8A}" type="datetime'''''''''''2''''''''''''''''2''%''''''''''''''''''''''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FD875ED-7640-477C-8657-CFEE96D35D9F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5210175" y="3625402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861CBF-C301-47E3-B76E-E00C809F5BC5}" type="datetime'''''''''''''1''''''''''''''''''''''''''''''''1''''''''''''''%'">
              <a:rPr lang="en-US" altLang="en-US" sz="2400" b="1" smtClean="0">
                <a:solidFill>
                  <a:srgbClr val="29BA74"/>
                </a:solidFill>
              </a:rPr>
              <a:pPr/>
              <a:t>11%</a:t>
            </a:fld>
            <a:endParaRPr lang="en-US" sz="2400" b="1" dirty="0">
              <a:solidFill>
                <a:srgbClr val="29BA74"/>
              </a:solidFill>
              <a:sym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56D5743E-ED00-435D-AA3E-404255DEDD9F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108825" y="2215702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A7F319-C224-4438-8C4C-B39594AEBA4D}" type="datetime'''''''''3''''''''''''''''''2''''''''''%'''''''''''''''">
              <a:rPr lang="en-US" altLang="en-US" sz="2400" b="1" smtClean="0">
                <a:solidFill>
                  <a:srgbClr val="C00000"/>
                </a:solidFill>
              </a:rPr>
              <a:pPr/>
              <a:t>32%</a:t>
            </a:fld>
            <a:endParaRPr lang="en-US" sz="2400" b="1" dirty="0">
              <a:solidFill>
                <a:srgbClr val="C00000"/>
              </a:solidFill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71250BED-5FF0-48F6-B70C-A610F3B9159F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8391525" y="3834952"/>
            <a:ext cx="37782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58A974-7537-4393-A243-C14AE451F68B}" type="datetime'''''''''''8''''''''%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0823CD8-825F-4936-B4F5-ED030B7A6DA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007475" y="1842639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184DCC8-7591-4897-9710-4A9D62F6CEBC}" type="datetime'''''''''''''3''9''''''''''''''''%'">
              <a:rPr lang="en-US" altLang="en-US" sz="2400" b="1" smtClean="0">
                <a:solidFill>
                  <a:srgbClr val="C00000"/>
                </a:solidFill>
              </a:rPr>
              <a:pPr/>
              <a:t>39%</a:t>
            </a:fld>
            <a:endParaRPr lang="en-US" sz="2400" b="1">
              <a:solidFill>
                <a:srgbClr val="C00000"/>
              </a:solidFill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E842BF8-0A66-4647-9377-CB632AB206A5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0290175" y="4212777"/>
            <a:ext cx="37782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310444-4D47-4661-B074-F60BBD9E1844}" type="datetime'''''''''''''''''''''''2''''''''''''''''''''''%''''''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A0235B8B-9FBE-408C-A5E3-5B5BF19BD0A1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0906125" y="3419027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25D4822-3F38-4AC0-9EF6-FA2693B92C29}" type="datetime'''''1''''''''''''''4''%'''''''''''''''''''''''''''''''''''''">
              <a:rPr lang="en-US" altLang="en-US" sz="2400" b="1" smtClean="0">
                <a:solidFill>
                  <a:srgbClr val="C00000"/>
                </a:solidFill>
              </a:rPr>
              <a:pPr/>
              <a:t>14%</a:t>
            </a:fld>
            <a:endParaRPr lang="en-US" sz="2400" b="1">
              <a:solidFill>
                <a:srgbClr val="C00000"/>
              </a:solidFill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49E1FEAA-53CB-4EE4-81E1-3DC06F867A6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1236663" y="6216203"/>
            <a:ext cx="322263" cy="241300"/>
          </a:xfrm>
          <a:prstGeom prst="rect">
            <a:avLst/>
          </a:prstGeom>
          <a:solidFill>
            <a:srgbClr val="BDD2FF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7F0F697-5F11-4AB9-AF6A-68803D83945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983163" y="6216203"/>
            <a:ext cx="322263" cy="241300"/>
          </a:xfrm>
          <a:prstGeom prst="rect">
            <a:avLst/>
          </a:prstGeom>
          <a:solidFill>
            <a:srgbClr val="670F31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8D60C564-23B9-42FF-A19C-1F38309F8DB4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1609725" y="6209853"/>
            <a:ext cx="3271838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75807E-F10A-4F8E-98D1-D986E3EF9542}" type="datetime'''''%'''' ''of'' India’s popul''a''tio''n in giv''en'' age'''">
              <a:rPr lang="en-US" altLang="en-US" smtClean="0">
                <a:solidFill>
                  <a:schemeClr val="tx1"/>
                </a:solidFill>
              </a:rPr>
              <a:pPr/>
              <a:t>% of India’s population in given ag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54BB3A55-E5DD-4320-9E23-2F332B2EF9C9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356225" y="6209853"/>
            <a:ext cx="444817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A1B139F-340A-46A4-922B-AD0488A2F462}" type="datetime'% of India’s C''OVID''''-19 linked de''aths in'' giv''en age'">
              <a:rPr lang="en-US" altLang="en-US" smtClean="0">
                <a:solidFill>
                  <a:schemeClr val="tx1"/>
                </a:solidFill>
              </a:rPr>
              <a:pPr/>
              <a:t>% of India’s COVID-19 linked deaths in given ag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086C6C1C-206E-4BFB-BE10-23A814364814}"/>
              </a:ext>
            </a:extLst>
          </p:cNvPr>
          <p:cNvGrpSpPr/>
          <p:nvPr/>
        </p:nvGrpSpPr>
        <p:grpSpPr>
          <a:xfrm>
            <a:off x="2601942" y="5126486"/>
            <a:ext cx="1347668" cy="741649"/>
            <a:chOff x="2882265" y="4906271"/>
            <a:chExt cx="1347668" cy="741649"/>
          </a:xfrm>
        </p:grpSpPr>
        <p:pic>
          <p:nvPicPr>
            <p:cNvPr id="33" name="Graphic 105">
              <a:extLst>
                <a:ext uri="{FF2B5EF4-FFF2-40B4-BE49-F238E27FC236}">
                  <a16:creationId xmlns:a16="http://schemas.microsoft.com/office/drawing/2014/main" xmlns="" id="{E46296FF-C55C-4415-AFF1-162392570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2882265" y="4906271"/>
              <a:ext cx="731520" cy="731520"/>
            </a:xfrm>
            <a:prstGeom prst="rect">
              <a:avLst/>
            </a:prstGeom>
          </p:spPr>
        </p:pic>
        <p:pic>
          <p:nvPicPr>
            <p:cNvPr id="34" name="Graphic 7">
              <a:extLst>
                <a:ext uri="{FF2B5EF4-FFF2-40B4-BE49-F238E27FC236}">
                  <a16:creationId xmlns:a16="http://schemas.microsoft.com/office/drawing/2014/main" xmlns="" id="{6E051E2E-A6E0-411A-A5A9-7178F98BFE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3498413" y="4916400"/>
              <a:ext cx="731520" cy="73152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B3387252-CCBB-4180-AF75-C162DD1357BE}"/>
              </a:ext>
            </a:extLst>
          </p:cNvPr>
          <p:cNvGrpSpPr/>
          <p:nvPr/>
        </p:nvGrpSpPr>
        <p:grpSpPr>
          <a:xfrm>
            <a:off x="4494287" y="5128352"/>
            <a:ext cx="1335410" cy="744201"/>
            <a:chOff x="4729798" y="4908137"/>
            <a:chExt cx="1335410" cy="744201"/>
          </a:xfrm>
        </p:grpSpPr>
        <p:pic>
          <p:nvPicPr>
            <p:cNvPr id="36" name="Graphic 115">
              <a:extLst>
                <a:ext uri="{FF2B5EF4-FFF2-40B4-BE49-F238E27FC236}">
                  <a16:creationId xmlns:a16="http://schemas.microsoft.com/office/drawing/2014/main" xmlns="" id="{FB443EBE-FDCA-403D-9786-1959704C5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729798" y="4908137"/>
              <a:ext cx="731520" cy="731520"/>
            </a:xfrm>
            <a:prstGeom prst="rect">
              <a:avLst/>
            </a:prstGeom>
          </p:spPr>
        </p:pic>
        <p:pic>
          <p:nvPicPr>
            <p:cNvPr id="37" name="Graphic 37">
              <a:extLst>
                <a:ext uri="{FF2B5EF4-FFF2-40B4-BE49-F238E27FC236}">
                  <a16:creationId xmlns:a16="http://schemas.microsoft.com/office/drawing/2014/main" xmlns="" id="{E32B2BCB-7896-46C5-AF85-2BB05E566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333688" y="4920818"/>
              <a:ext cx="731520" cy="731520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7D493D72-D269-46E4-B0A1-9465BCBB0435}"/>
              </a:ext>
            </a:extLst>
          </p:cNvPr>
          <p:cNvGrpSpPr/>
          <p:nvPr/>
        </p:nvGrpSpPr>
        <p:grpSpPr>
          <a:xfrm>
            <a:off x="708978" y="5126486"/>
            <a:ext cx="1316925" cy="731520"/>
            <a:chOff x="965868" y="4906271"/>
            <a:chExt cx="1316925" cy="731520"/>
          </a:xfrm>
        </p:grpSpPr>
        <p:pic>
          <p:nvPicPr>
            <p:cNvPr id="39" name="Graphic 109">
              <a:extLst>
                <a:ext uri="{FF2B5EF4-FFF2-40B4-BE49-F238E27FC236}">
                  <a16:creationId xmlns:a16="http://schemas.microsoft.com/office/drawing/2014/main" xmlns="" id="{D81B6722-C815-4E5B-AA8E-9E03A6C6FC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965868" y="4906271"/>
              <a:ext cx="731520" cy="731520"/>
            </a:xfrm>
            <a:prstGeom prst="rect">
              <a:avLst/>
            </a:prstGeom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xmlns="" id="{E46CCEAA-83B4-4B7E-908C-AE0A6774791E}"/>
                </a:ext>
              </a:extLst>
            </p:cNvPr>
            <p:cNvGrpSpPr/>
            <p:nvPr/>
          </p:nvGrpSpPr>
          <p:grpSpPr>
            <a:xfrm>
              <a:off x="1637561" y="4906708"/>
              <a:ext cx="645232" cy="730646"/>
              <a:chOff x="1718599" y="4906270"/>
              <a:chExt cx="645232" cy="730646"/>
            </a:xfrm>
            <a:solidFill>
              <a:schemeClr val="accent1"/>
            </a:solidFill>
          </p:grpSpPr>
          <p:sp>
            <p:nvSpPr>
              <p:cNvPr id="41" name="Freeform: Shape 109578">
                <a:extLst>
                  <a:ext uri="{FF2B5EF4-FFF2-40B4-BE49-F238E27FC236}">
                    <a16:creationId xmlns:a16="http://schemas.microsoft.com/office/drawing/2014/main" xmlns="" id="{32786CBA-EBB8-4835-8FA6-97B3D4920704}"/>
                  </a:ext>
                </a:extLst>
              </p:cNvPr>
              <p:cNvSpPr/>
              <p:nvPr/>
            </p:nvSpPr>
            <p:spPr>
              <a:xfrm>
                <a:off x="1718599" y="5412375"/>
                <a:ext cx="120015" cy="161449"/>
              </a:xfrm>
              <a:custGeom>
                <a:avLst/>
                <a:gdLst>
                  <a:gd name="connsiteX0" fmla="*/ 107627 w 120015"/>
                  <a:gd name="connsiteY0" fmla="*/ 162526 h 161448"/>
                  <a:gd name="connsiteX1" fmla="*/ 103538 w 120015"/>
                  <a:gd name="connsiteY1" fmla="*/ 161893 h 161448"/>
                  <a:gd name="connsiteX2" fmla="*/ 7973 w 120015"/>
                  <a:gd name="connsiteY2" fmla="*/ 125437 h 161448"/>
                  <a:gd name="connsiteX3" fmla="*/ 143 w 120015"/>
                  <a:gd name="connsiteY3" fmla="*/ 111178 h 161448"/>
                  <a:gd name="connsiteX4" fmla="*/ 5268 w 120015"/>
                  <a:gd name="connsiteY4" fmla="*/ 77466 h 161448"/>
                  <a:gd name="connsiteX5" fmla="*/ 55230 w 120015"/>
                  <a:gd name="connsiteY5" fmla="*/ 10071 h 161448"/>
                  <a:gd name="connsiteX6" fmla="*/ 90636 w 120015"/>
                  <a:gd name="connsiteY6" fmla="*/ 480 h 161448"/>
                  <a:gd name="connsiteX7" fmla="*/ 107142 w 120015"/>
                  <a:gd name="connsiteY7" fmla="*/ 9936 h 161448"/>
                  <a:gd name="connsiteX8" fmla="*/ 97673 w 120015"/>
                  <a:gd name="connsiteY8" fmla="*/ 26443 h 161448"/>
                  <a:gd name="connsiteX9" fmla="*/ 62428 w 120015"/>
                  <a:gd name="connsiteY9" fmla="*/ 35994 h 161448"/>
                  <a:gd name="connsiteX10" fmla="*/ 31852 w 120015"/>
                  <a:gd name="connsiteY10" fmla="*/ 81557 h 161448"/>
                  <a:gd name="connsiteX11" fmla="*/ 28274 w 120015"/>
                  <a:gd name="connsiteY11" fmla="*/ 104977 h 161448"/>
                  <a:gd name="connsiteX12" fmla="*/ 111692 w 120015"/>
                  <a:gd name="connsiteY12" fmla="*/ 136239 h 161448"/>
                  <a:gd name="connsiteX13" fmla="*/ 120423 w 120015"/>
                  <a:gd name="connsiteY13" fmla="*/ 153149 h 161448"/>
                  <a:gd name="connsiteX14" fmla="*/ 107627 w 120015"/>
                  <a:gd name="connsiteY14" fmla="*/ 162526 h 161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0015" h="161448">
                    <a:moveTo>
                      <a:pt x="107627" y="162526"/>
                    </a:moveTo>
                    <a:cubicBezTo>
                      <a:pt x="106268" y="162526"/>
                      <a:pt x="104896" y="162324"/>
                      <a:pt x="103538" y="161893"/>
                    </a:cubicBezTo>
                    <a:cubicBezTo>
                      <a:pt x="71078" y="151521"/>
                      <a:pt x="38927" y="139265"/>
                      <a:pt x="7973" y="125437"/>
                    </a:cubicBezTo>
                    <a:cubicBezTo>
                      <a:pt x="2458" y="122975"/>
                      <a:pt x="-731" y="117150"/>
                      <a:pt x="143" y="111178"/>
                    </a:cubicBezTo>
                    <a:cubicBezTo>
                      <a:pt x="143" y="111178"/>
                      <a:pt x="1771" y="100241"/>
                      <a:pt x="5268" y="77466"/>
                    </a:cubicBezTo>
                    <a:cubicBezTo>
                      <a:pt x="9223" y="51597"/>
                      <a:pt x="18466" y="20549"/>
                      <a:pt x="55230" y="10071"/>
                    </a:cubicBezTo>
                    <a:lnTo>
                      <a:pt x="90636" y="480"/>
                    </a:lnTo>
                    <a:cubicBezTo>
                      <a:pt x="97873" y="-1485"/>
                      <a:pt x="105191" y="2767"/>
                      <a:pt x="107142" y="9936"/>
                    </a:cubicBezTo>
                    <a:cubicBezTo>
                      <a:pt x="109093" y="17106"/>
                      <a:pt x="104842" y="24491"/>
                      <a:pt x="97673" y="26443"/>
                    </a:cubicBezTo>
                    <a:lnTo>
                      <a:pt x="62428" y="35994"/>
                    </a:lnTo>
                    <a:cubicBezTo>
                      <a:pt x="44712" y="41052"/>
                      <a:pt x="36089" y="53832"/>
                      <a:pt x="31852" y="81557"/>
                    </a:cubicBezTo>
                    <a:cubicBezTo>
                      <a:pt x="30291" y="91700"/>
                      <a:pt x="29107" y="99475"/>
                      <a:pt x="28274" y="104977"/>
                    </a:cubicBezTo>
                    <a:cubicBezTo>
                      <a:pt x="55420" y="116734"/>
                      <a:pt x="83442" y="127227"/>
                      <a:pt x="111692" y="136239"/>
                    </a:cubicBezTo>
                    <a:cubicBezTo>
                      <a:pt x="118767" y="138500"/>
                      <a:pt x="122682" y="146059"/>
                      <a:pt x="120423" y="153149"/>
                    </a:cubicBezTo>
                    <a:cubicBezTo>
                      <a:pt x="118617" y="158894"/>
                      <a:pt x="113330" y="162526"/>
                      <a:pt x="107627" y="162526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109579">
                <a:extLst>
                  <a:ext uri="{FF2B5EF4-FFF2-40B4-BE49-F238E27FC236}">
                    <a16:creationId xmlns:a16="http://schemas.microsoft.com/office/drawing/2014/main" xmlns="" id="{19594EA8-F3E9-458C-96F6-FD4D119888C5}"/>
                  </a:ext>
                </a:extLst>
              </p:cNvPr>
              <p:cNvSpPr/>
              <p:nvPr/>
            </p:nvSpPr>
            <p:spPr>
              <a:xfrm>
                <a:off x="2240958" y="5512080"/>
                <a:ext cx="122873" cy="62865"/>
              </a:xfrm>
              <a:custGeom>
                <a:avLst/>
                <a:gdLst>
                  <a:gd name="connsiteX0" fmla="*/ 13452 w 122872"/>
                  <a:gd name="connsiteY0" fmla="*/ 63628 h 62865"/>
                  <a:gd name="connsiteX1" fmla="*/ 632 w 122872"/>
                  <a:gd name="connsiteY1" fmla="*/ 54225 h 62865"/>
                  <a:gd name="connsiteX2" fmla="*/ 9403 w 122872"/>
                  <a:gd name="connsiteY2" fmla="*/ 37356 h 62865"/>
                  <a:gd name="connsiteX3" fmla="*/ 104404 w 122872"/>
                  <a:gd name="connsiteY3" fmla="*/ 1196 h 62865"/>
                  <a:gd name="connsiteX4" fmla="*/ 122175 w 122872"/>
                  <a:gd name="connsiteY4" fmla="*/ 7962 h 62865"/>
                  <a:gd name="connsiteX5" fmla="*/ 115408 w 122872"/>
                  <a:gd name="connsiteY5" fmla="*/ 25733 h 62865"/>
                  <a:gd name="connsiteX6" fmla="*/ 17503 w 122872"/>
                  <a:gd name="connsiteY6" fmla="*/ 63009 h 62865"/>
                  <a:gd name="connsiteX7" fmla="*/ 13452 w 122872"/>
                  <a:gd name="connsiteY7" fmla="*/ 63628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2872" h="62865">
                    <a:moveTo>
                      <a:pt x="13452" y="63628"/>
                    </a:moveTo>
                    <a:cubicBezTo>
                      <a:pt x="7735" y="63628"/>
                      <a:pt x="2435" y="59969"/>
                      <a:pt x="632" y="54225"/>
                    </a:cubicBezTo>
                    <a:cubicBezTo>
                      <a:pt x="-1614" y="47149"/>
                      <a:pt x="2314" y="39589"/>
                      <a:pt x="9403" y="37356"/>
                    </a:cubicBezTo>
                    <a:cubicBezTo>
                      <a:pt x="41649" y="27159"/>
                      <a:pt x="73611" y="14999"/>
                      <a:pt x="104404" y="1196"/>
                    </a:cubicBezTo>
                    <a:cubicBezTo>
                      <a:pt x="111158" y="-1872"/>
                      <a:pt x="119147" y="1169"/>
                      <a:pt x="122175" y="7962"/>
                    </a:cubicBezTo>
                    <a:cubicBezTo>
                      <a:pt x="125228" y="14742"/>
                      <a:pt x="122187" y="22706"/>
                      <a:pt x="115408" y="25733"/>
                    </a:cubicBezTo>
                    <a:cubicBezTo>
                      <a:pt x="83687" y="39979"/>
                      <a:pt x="50743" y="52504"/>
                      <a:pt x="17503" y="63009"/>
                    </a:cubicBezTo>
                    <a:cubicBezTo>
                      <a:pt x="16170" y="63425"/>
                      <a:pt x="14797" y="63628"/>
                      <a:pt x="13452" y="63628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109580">
                <a:extLst>
                  <a:ext uri="{FF2B5EF4-FFF2-40B4-BE49-F238E27FC236}">
                    <a16:creationId xmlns:a16="http://schemas.microsoft.com/office/drawing/2014/main" xmlns="" id="{5D82A15F-8B6C-4DB7-8C2D-EEAE21281428}"/>
                  </a:ext>
                </a:extLst>
              </p:cNvPr>
              <p:cNvSpPr/>
              <p:nvPr/>
            </p:nvSpPr>
            <p:spPr>
              <a:xfrm>
                <a:off x="1962227" y="5577186"/>
                <a:ext cx="160020" cy="28575"/>
              </a:xfrm>
              <a:custGeom>
                <a:avLst/>
                <a:gdLst>
                  <a:gd name="connsiteX0" fmla="*/ 79234 w 160020"/>
                  <a:gd name="connsiteY0" fmla="*/ 29595 h 28575"/>
                  <a:gd name="connsiteX1" fmla="*/ 12417 w 160020"/>
                  <a:gd name="connsiteY1" fmla="*/ 27121 h 28575"/>
                  <a:gd name="connsiteX2" fmla="*/ 41 w 160020"/>
                  <a:gd name="connsiteY2" fmla="*/ 12673 h 28575"/>
                  <a:gd name="connsiteX3" fmla="*/ 14489 w 160020"/>
                  <a:gd name="connsiteY3" fmla="*/ 298 h 28575"/>
                  <a:gd name="connsiteX4" fmla="*/ 79234 w 160020"/>
                  <a:gd name="connsiteY4" fmla="*/ 2692 h 28575"/>
                  <a:gd name="connsiteX5" fmla="*/ 146898 w 160020"/>
                  <a:gd name="connsiteY5" fmla="*/ 42 h 28575"/>
                  <a:gd name="connsiteX6" fmla="*/ 161386 w 160020"/>
                  <a:gd name="connsiteY6" fmla="*/ 12378 h 28575"/>
                  <a:gd name="connsiteX7" fmla="*/ 149050 w 160020"/>
                  <a:gd name="connsiteY7" fmla="*/ 26865 h 28575"/>
                  <a:gd name="connsiteX8" fmla="*/ 79234 w 160020"/>
                  <a:gd name="connsiteY8" fmla="*/ 2959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020" h="28575">
                    <a:moveTo>
                      <a:pt x="79234" y="29595"/>
                    </a:moveTo>
                    <a:cubicBezTo>
                      <a:pt x="55531" y="29595"/>
                      <a:pt x="34304" y="28801"/>
                      <a:pt x="12417" y="27121"/>
                    </a:cubicBezTo>
                    <a:cubicBezTo>
                      <a:pt x="5005" y="26557"/>
                      <a:pt x="-537" y="20086"/>
                      <a:pt x="41" y="12673"/>
                    </a:cubicBezTo>
                    <a:cubicBezTo>
                      <a:pt x="606" y="5261"/>
                      <a:pt x="7117" y="-321"/>
                      <a:pt x="14489" y="298"/>
                    </a:cubicBezTo>
                    <a:cubicBezTo>
                      <a:pt x="35676" y="1925"/>
                      <a:pt x="56244" y="2692"/>
                      <a:pt x="79234" y="2692"/>
                    </a:cubicBezTo>
                    <a:cubicBezTo>
                      <a:pt x="102197" y="2692"/>
                      <a:pt x="124971" y="1805"/>
                      <a:pt x="146898" y="42"/>
                    </a:cubicBezTo>
                    <a:cubicBezTo>
                      <a:pt x="154499" y="-537"/>
                      <a:pt x="160794" y="4965"/>
                      <a:pt x="161386" y="12378"/>
                    </a:cubicBezTo>
                    <a:cubicBezTo>
                      <a:pt x="161977" y="19790"/>
                      <a:pt x="156462" y="26274"/>
                      <a:pt x="149050" y="26865"/>
                    </a:cubicBezTo>
                    <a:cubicBezTo>
                      <a:pt x="126412" y="28681"/>
                      <a:pt x="102924" y="29595"/>
                      <a:pt x="79234" y="29595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109581">
                <a:extLst>
                  <a:ext uri="{FF2B5EF4-FFF2-40B4-BE49-F238E27FC236}">
                    <a16:creationId xmlns:a16="http://schemas.microsoft.com/office/drawing/2014/main" xmlns="" id="{2B9EBAB6-D5C3-4338-AA70-74201F31D950}"/>
                  </a:ext>
                </a:extLst>
              </p:cNvPr>
              <p:cNvSpPr/>
              <p:nvPr/>
            </p:nvSpPr>
            <p:spPr>
              <a:xfrm>
                <a:off x="2225031" y="5401919"/>
                <a:ext cx="138589" cy="135731"/>
              </a:xfrm>
              <a:custGeom>
                <a:avLst/>
                <a:gdLst>
                  <a:gd name="connsiteX0" fmla="*/ 125819 w 138588"/>
                  <a:gd name="connsiteY0" fmla="*/ 137064 h 135731"/>
                  <a:gd name="connsiteX1" fmla="*/ 112528 w 138588"/>
                  <a:gd name="connsiteY1" fmla="*/ 125576 h 135731"/>
                  <a:gd name="connsiteX2" fmla="*/ 107551 w 138588"/>
                  <a:gd name="connsiteY2" fmla="*/ 91946 h 135731"/>
                  <a:gd name="connsiteX3" fmla="*/ 76100 w 138588"/>
                  <a:gd name="connsiteY3" fmla="*/ 46437 h 135731"/>
                  <a:gd name="connsiteX4" fmla="*/ 0 w 138588"/>
                  <a:gd name="connsiteY4" fmla="*/ 26016 h 135731"/>
                  <a:gd name="connsiteX5" fmla="*/ 6861 w 138588"/>
                  <a:gd name="connsiteY5" fmla="*/ 0 h 135731"/>
                  <a:gd name="connsiteX6" fmla="*/ 83310 w 138588"/>
                  <a:gd name="connsiteY6" fmla="*/ 20488 h 135731"/>
                  <a:gd name="connsiteX7" fmla="*/ 134160 w 138588"/>
                  <a:gd name="connsiteY7" fmla="*/ 87871 h 135731"/>
                  <a:gd name="connsiteX8" fmla="*/ 139150 w 138588"/>
                  <a:gd name="connsiteY8" fmla="*/ 121622 h 135731"/>
                  <a:gd name="connsiteX9" fmla="*/ 127810 w 138588"/>
                  <a:gd name="connsiteY9" fmla="*/ 136904 h 135731"/>
                  <a:gd name="connsiteX10" fmla="*/ 125819 w 138588"/>
                  <a:gd name="connsiteY10" fmla="*/ 137064 h 13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8588" h="135731">
                    <a:moveTo>
                      <a:pt x="125819" y="137064"/>
                    </a:moveTo>
                    <a:cubicBezTo>
                      <a:pt x="119253" y="137064"/>
                      <a:pt x="113510" y="132275"/>
                      <a:pt x="112528" y="125576"/>
                    </a:cubicBezTo>
                    <a:lnTo>
                      <a:pt x="107551" y="91946"/>
                    </a:lnTo>
                    <a:cubicBezTo>
                      <a:pt x="103151" y="63952"/>
                      <a:pt x="94609" y="51575"/>
                      <a:pt x="76100" y="46437"/>
                    </a:cubicBezTo>
                    <a:cubicBezTo>
                      <a:pt x="49518" y="39052"/>
                      <a:pt x="0" y="26016"/>
                      <a:pt x="0" y="26016"/>
                    </a:cubicBezTo>
                    <a:lnTo>
                      <a:pt x="6861" y="0"/>
                    </a:lnTo>
                    <a:cubicBezTo>
                      <a:pt x="6861" y="0"/>
                      <a:pt x="56594" y="13089"/>
                      <a:pt x="83310" y="20488"/>
                    </a:cubicBezTo>
                    <a:cubicBezTo>
                      <a:pt x="120614" y="30860"/>
                      <a:pt x="130083" y="61935"/>
                      <a:pt x="134160" y="87871"/>
                    </a:cubicBezTo>
                    <a:lnTo>
                      <a:pt x="139150" y="121622"/>
                    </a:lnTo>
                    <a:cubicBezTo>
                      <a:pt x="140240" y="128968"/>
                      <a:pt x="135155" y="135814"/>
                      <a:pt x="127810" y="136904"/>
                    </a:cubicBezTo>
                    <a:cubicBezTo>
                      <a:pt x="127137" y="137010"/>
                      <a:pt x="126477" y="137064"/>
                      <a:pt x="125819" y="137064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109582">
                <a:extLst>
                  <a:ext uri="{FF2B5EF4-FFF2-40B4-BE49-F238E27FC236}">
                    <a16:creationId xmlns:a16="http://schemas.microsoft.com/office/drawing/2014/main" xmlns="" id="{5E0FAD6C-2F95-4BDB-A8A0-9E72DF1F2644}"/>
                  </a:ext>
                </a:extLst>
              </p:cNvPr>
              <p:cNvSpPr/>
              <p:nvPr/>
            </p:nvSpPr>
            <p:spPr>
              <a:xfrm>
                <a:off x="1877949" y="5397895"/>
                <a:ext cx="327184" cy="100013"/>
              </a:xfrm>
              <a:custGeom>
                <a:avLst/>
                <a:gdLst>
                  <a:gd name="connsiteX0" fmla="*/ 163700 w 327183"/>
                  <a:gd name="connsiteY0" fmla="*/ 100730 h 100012"/>
                  <a:gd name="connsiteX1" fmla="*/ 0 w 327183"/>
                  <a:gd name="connsiteY1" fmla="*/ 15551 h 100012"/>
                  <a:gd name="connsiteX2" fmla="*/ 21954 w 327183"/>
                  <a:gd name="connsiteY2" fmla="*/ 0 h 100012"/>
                  <a:gd name="connsiteX3" fmla="*/ 163606 w 327183"/>
                  <a:gd name="connsiteY3" fmla="*/ 73826 h 100012"/>
                  <a:gd name="connsiteX4" fmla="*/ 305581 w 327183"/>
                  <a:gd name="connsiteY4" fmla="*/ 27 h 100012"/>
                  <a:gd name="connsiteX5" fmla="*/ 327361 w 327183"/>
                  <a:gd name="connsiteY5" fmla="*/ 15793 h 100012"/>
                  <a:gd name="connsiteX6" fmla="*/ 163700 w 327183"/>
                  <a:gd name="connsiteY6" fmla="*/ 100730 h 10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7183" h="100012">
                    <a:moveTo>
                      <a:pt x="163700" y="100730"/>
                    </a:moveTo>
                    <a:cubicBezTo>
                      <a:pt x="98578" y="100327"/>
                      <a:pt x="37478" y="68484"/>
                      <a:pt x="0" y="15551"/>
                    </a:cubicBezTo>
                    <a:lnTo>
                      <a:pt x="21954" y="0"/>
                    </a:lnTo>
                    <a:cubicBezTo>
                      <a:pt x="54441" y="45873"/>
                      <a:pt x="107403" y="73476"/>
                      <a:pt x="163606" y="73826"/>
                    </a:cubicBezTo>
                    <a:cubicBezTo>
                      <a:pt x="219487" y="73086"/>
                      <a:pt x="272664" y="45496"/>
                      <a:pt x="305581" y="27"/>
                    </a:cubicBezTo>
                    <a:lnTo>
                      <a:pt x="327361" y="15793"/>
                    </a:lnTo>
                    <a:cubicBezTo>
                      <a:pt x="289492" y="68121"/>
                      <a:pt x="228299" y="99882"/>
                      <a:pt x="163700" y="100730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109586">
                <a:extLst>
                  <a:ext uri="{FF2B5EF4-FFF2-40B4-BE49-F238E27FC236}">
                    <a16:creationId xmlns:a16="http://schemas.microsoft.com/office/drawing/2014/main" xmlns="" id="{1D678015-48E7-4BD6-94DB-78D676CE4804}"/>
                  </a:ext>
                </a:extLst>
              </p:cNvPr>
              <p:cNvSpPr/>
              <p:nvPr/>
            </p:nvSpPr>
            <p:spPr>
              <a:xfrm>
                <a:off x="1880034" y="5155056"/>
                <a:ext cx="25718" cy="67151"/>
              </a:xfrm>
              <a:custGeom>
                <a:avLst/>
                <a:gdLst>
                  <a:gd name="connsiteX0" fmla="*/ 26905 w 25717"/>
                  <a:gd name="connsiteY0" fmla="*/ 60669 h 67151"/>
                  <a:gd name="connsiteX1" fmla="*/ 20313 w 25717"/>
                  <a:gd name="connsiteY1" fmla="*/ 67261 h 67151"/>
                  <a:gd name="connsiteX2" fmla="*/ 19371 w 25717"/>
                  <a:gd name="connsiteY2" fmla="*/ 67261 h 67151"/>
                  <a:gd name="connsiteX3" fmla="*/ 13452 w 25717"/>
                  <a:gd name="connsiteY3" fmla="*/ 61612 h 67151"/>
                  <a:gd name="connsiteX4" fmla="*/ 0 w 25717"/>
                  <a:gd name="connsiteY4" fmla="*/ 26905 h 67151"/>
                  <a:gd name="connsiteX5" fmla="*/ 26905 w 25717"/>
                  <a:gd name="connsiteY5" fmla="*/ 0 h 67151"/>
                  <a:gd name="connsiteX6" fmla="*/ 26905 w 25717"/>
                  <a:gd name="connsiteY6" fmla="*/ 60669 h 6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17" h="67151">
                    <a:moveTo>
                      <a:pt x="26905" y="60669"/>
                    </a:moveTo>
                    <a:cubicBezTo>
                      <a:pt x="26905" y="64315"/>
                      <a:pt x="23959" y="67261"/>
                      <a:pt x="20313" y="67261"/>
                    </a:cubicBezTo>
                    <a:lnTo>
                      <a:pt x="19371" y="67261"/>
                    </a:lnTo>
                    <a:cubicBezTo>
                      <a:pt x="16251" y="67140"/>
                      <a:pt x="13722" y="64718"/>
                      <a:pt x="13452" y="61612"/>
                    </a:cubicBezTo>
                    <a:cubicBezTo>
                      <a:pt x="12766" y="48913"/>
                      <a:pt x="8057" y="36752"/>
                      <a:pt x="0" y="26905"/>
                    </a:cubicBezTo>
                    <a:lnTo>
                      <a:pt x="26905" y="0"/>
                    </a:lnTo>
                    <a:lnTo>
                      <a:pt x="26905" y="60669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109587">
                <a:extLst>
                  <a:ext uri="{FF2B5EF4-FFF2-40B4-BE49-F238E27FC236}">
                    <a16:creationId xmlns:a16="http://schemas.microsoft.com/office/drawing/2014/main" xmlns="" id="{22E1CEA9-59A0-4743-9B23-2C0502CD0C52}"/>
                  </a:ext>
                </a:extLst>
              </p:cNvPr>
              <p:cNvSpPr/>
              <p:nvPr/>
            </p:nvSpPr>
            <p:spPr>
              <a:xfrm>
                <a:off x="2175984" y="5155056"/>
                <a:ext cx="25718" cy="67151"/>
              </a:xfrm>
              <a:custGeom>
                <a:avLst/>
                <a:gdLst>
                  <a:gd name="connsiteX0" fmla="*/ 0 w 25717"/>
                  <a:gd name="connsiteY0" fmla="*/ 60669 h 67151"/>
                  <a:gd name="connsiteX1" fmla="*/ 6592 w 25717"/>
                  <a:gd name="connsiteY1" fmla="*/ 67261 h 67151"/>
                  <a:gd name="connsiteX2" fmla="*/ 6592 w 25717"/>
                  <a:gd name="connsiteY2" fmla="*/ 67261 h 67151"/>
                  <a:gd name="connsiteX3" fmla="*/ 7534 w 25717"/>
                  <a:gd name="connsiteY3" fmla="*/ 67261 h 67151"/>
                  <a:gd name="connsiteX4" fmla="*/ 13453 w 25717"/>
                  <a:gd name="connsiteY4" fmla="*/ 61612 h 67151"/>
                  <a:gd name="connsiteX5" fmla="*/ 26905 w 25717"/>
                  <a:gd name="connsiteY5" fmla="*/ 26905 h 67151"/>
                  <a:gd name="connsiteX6" fmla="*/ 0 w 25717"/>
                  <a:gd name="connsiteY6" fmla="*/ 0 h 67151"/>
                  <a:gd name="connsiteX7" fmla="*/ 0 w 25717"/>
                  <a:gd name="connsiteY7" fmla="*/ 60669 h 6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17" h="67151">
                    <a:moveTo>
                      <a:pt x="0" y="60669"/>
                    </a:moveTo>
                    <a:cubicBezTo>
                      <a:pt x="0" y="64315"/>
                      <a:pt x="2946" y="67261"/>
                      <a:pt x="6592" y="67261"/>
                    </a:cubicBezTo>
                    <a:lnTo>
                      <a:pt x="6592" y="67261"/>
                    </a:lnTo>
                    <a:lnTo>
                      <a:pt x="7534" y="67261"/>
                    </a:lnTo>
                    <a:cubicBezTo>
                      <a:pt x="10654" y="67140"/>
                      <a:pt x="13183" y="64718"/>
                      <a:pt x="13453" y="61612"/>
                    </a:cubicBezTo>
                    <a:cubicBezTo>
                      <a:pt x="14139" y="48913"/>
                      <a:pt x="18848" y="36752"/>
                      <a:pt x="26905" y="26905"/>
                    </a:cubicBezTo>
                    <a:lnTo>
                      <a:pt x="0" y="0"/>
                    </a:lnTo>
                    <a:lnTo>
                      <a:pt x="0" y="60669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109589">
                <a:extLst>
                  <a:ext uri="{FF2B5EF4-FFF2-40B4-BE49-F238E27FC236}">
                    <a16:creationId xmlns:a16="http://schemas.microsoft.com/office/drawing/2014/main" xmlns="" id="{6538C6FF-5C94-45B1-B1B1-76E281BE963B}"/>
                  </a:ext>
                </a:extLst>
              </p:cNvPr>
              <p:cNvSpPr/>
              <p:nvPr/>
            </p:nvSpPr>
            <p:spPr>
              <a:xfrm>
                <a:off x="1853129" y="5485468"/>
                <a:ext cx="92869" cy="151448"/>
              </a:xfrm>
              <a:custGeom>
                <a:avLst/>
                <a:gdLst>
                  <a:gd name="connsiteX0" fmla="*/ 47083 w 92868"/>
                  <a:gd name="connsiteY0" fmla="*/ 152322 h 151447"/>
                  <a:gd name="connsiteX1" fmla="*/ 9807 w 92868"/>
                  <a:gd name="connsiteY1" fmla="*/ 147183 h 151447"/>
                  <a:gd name="connsiteX2" fmla="*/ 0 w 92868"/>
                  <a:gd name="connsiteY2" fmla="*/ 134228 h 151447"/>
                  <a:gd name="connsiteX3" fmla="*/ 0 w 92868"/>
                  <a:gd name="connsiteY3" fmla="*/ 107323 h 151447"/>
                  <a:gd name="connsiteX4" fmla="*/ 13 w 92868"/>
                  <a:gd name="connsiteY4" fmla="*/ 106785 h 151447"/>
                  <a:gd name="connsiteX5" fmla="*/ 36347 w 92868"/>
                  <a:gd name="connsiteY5" fmla="*/ 5045 h 151447"/>
                  <a:gd name="connsiteX6" fmla="*/ 57830 w 92868"/>
                  <a:gd name="connsiteY6" fmla="*/ 5045 h 151447"/>
                  <a:gd name="connsiteX7" fmla="*/ 94165 w 92868"/>
                  <a:gd name="connsiteY7" fmla="*/ 106785 h 151447"/>
                  <a:gd name="connsiteX8" fmla="*/ 94178 w 92868"/>
                  <a:gd name="connsiteY8" fmla="*/ 134227 h 151447"/>
                  <a:gd name="connsiteX9" fmla="*/ 84371 w 92868"/>
                  <a:gd name="connsiteY9" fmla="*/ 147181 h 151447"/>
                  <a:gd name="connsiteX10" fmla="*/ 47083 w 92868"/>
                  <a:gd name="connsiteY10" fmla="*/ 152322 h 151447"/>
                  <a:gd name="connsiteX11" fmla="*/ 26905 w 92868"/>
                  <a:gd name="connsiteY11" fmla="*/ 123561 h 151447"/>
                  <a:gd name="connsiteX12" fmla="*/ 67261 w 92868"/>
                  <a:gd name="connsiteY12" fmla="*/ 123561 h 151447"/>
                  <a:gd name="connsiteX13" fmla="*/ 67261 w 92868"/>
                  <a:gd name="connsiteY13" fmla="*/ 107325 h 151447"/>
                  <a:gd name="connsiteX14" fmla="*/ 47083 w 92868"/>
                  <a:gd name="connsiteY14" fmla="*/ 37520 h 151447"/>
                  <a:gd name="connsiteX15" fmla="*/ 26905 w 92868"/>
                  <a:gd name="connsiteY15" fmla="*/ 107606 h 151447"/>
                  <a:gd name="connsiteX16" fmla="*/ 26905 w 92868"/>
                  <a:gd name="connsiteY16" fmla="*/ 123561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2868" h="151447">
                    <a:moveTo>
                      <a:pt x="47083" y="152322"/>
                    </a:moveTo>
                    <a:cubicBezTo>
                      <a:pt x="34546" y="152322"/>
                      <a:pt x="22008" y="150613"/>
                      <a:pt x="9807" y="147183"/>
                    </a:cubicBezTo>
                    <a:cubicBezTo>
                      <a:pt x="4009" y="145541"/>
                      <a:pt x="0" y="140255"/>
                      <a:pt x="0" y="134228"/>
                    </a:cubicBezTo>
                    <a:lnTo>
                      <a:pt x="0" y="107323"/>
                    </a:lnTo>
                    <a:cubicBezTo>
                      <a:pt x="0" y="107135"/>
                      <a:pt x="0" y="106973"/>
                      <a:pt x="13" y="106785"/>
                    </a:cubicBezTo>
                    <a:cubicBezTo>
                      <a:pt x="1479" y="69777"/>
                      <a:pt x="14043" y="34600"/>
                      <a:pt x="36347" y="5045"/>
                    </a:cubicBezTo>
                    <a:cubicBezTo>
                      <a:pt x="41432" y="-1682"/>
                      <a:pt x="52745" y="-1682"/>
                      <a:pt x="57830" y="5045"/>
                    </a:cubicBezTo>
                    <a:cubicBezTo>
                      <a:pt x="80134" y="34586"/>
                      <a:pt x="92699" y="69777"/>
                      <a:pt x="94165" y="106785"/>
                    </a:cubicBezTo>
                    <a:lnTo>
                      <a:pt x="94178" y="134227"/>
                    </a:lnTo>
                    <a:cubicBezTo>
                      <a:pt x="94178" y="140253"/>
                      <a:pt x="90168" y="145540"/>
                      <a:pt x="84371" y="147181"/>
                    </a:cubicBezTo>
                    <a:cubicBezTo>
                      <a:pt x="72172" y="150613"/>
                      <a:pt x="59622" y="152322"/>
                      <a:pt x="47083" y="152322"/>
                    </a:cubicBezTo>
                    <a:close/>
                    <a:moveTo>
                      <a:pt x="26905" y="123561"/>
                    </a:moveTo>
                    <a:cubicBezTo>
                      <a:pt x="40236" y="126036"/>
                      <a:pt x="53931" y="126036"/>
                      <a:pt x="67261" y="123561"/>
                    </a:cubicBezTo>
                    <a:lnTo>
                      <a:pt x="67261" y="107325"/>
                    </a:lnTo>
                    <a:cubicBezTo>
                      <a:pt x="66280" y="82787"/>
                      <a:pt x="59365" y="58883"/>
                      <a:pt x="47083" y="37520"/>
                    </a:cubicBezTo>
                    <a:cubicBezTo>
                      <a:pt x="34854" y="58842"/>
                      <a:pt x="27941" y="82720"/>
                      <a:pt x="26905" y="107606"/>
                    </a:cubicBezTo>
                    <a:cubicBezTo>
                      <a:pt x="26905" y="107606"/>
                      <a:pt x="26905" y="123561"/>
                      <a:pt x="26905" y="123561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109591">
                <a:extLst>
                  <a:ext uri="{FF2B5EF4-FFF2-40B4-BE49-F238E27FC236}">
                    <a16:creationId xmlns:a16="http://schemas.microsoft.com/office/drawing/2014/main" xmlns="" id="{3FEC6D1D-5915-4F56-B404-734148F79CC6}"/>
                  </a:ext>
                </a:extLst>
              </p:cNvPr>
              <p:cNvSpPr/>
              <p:nvPr/>
            </p:nvSpPr>
            <p:spPr>
              <a:xfrm>
                <a:off x="2135627" y="5485468"/>
                <a:ext cx="92869" cy="151448"/>
              </a:xfrm>
              <a:custGeom>
                <a:avLst/>
                <a:gdLst>
                  <a:gd name="connsiteX0" fmla="*/ 47083 w 92868"/>
                  <a:gd name="connsiteY0" fmla="*/ 152322 h 151447"/>
                  <a:gd name="connsiteX1" fmla="*/ 9807 w 92868"/>
                  <a:gd name="connsiteY1" fmla="*/ 147183 h 151447"/>
                  <a:gd name="connsiteX2" fmla="*/ 0 w 92868"/>
                  <a:gd name="connsiteY2" fmla="*/ 134228 h 151447"/>
                  <a:gd name="connsiteX3" fmla="*/ 0 w 92868"/>
                  <a:gd name="connsiteY3" fmla="*/ 107323 h 151447"/>
                  <a:gd name="connsiteX4" fmla="*/ 13 w 92868"/>
                  <a:gd name="connsiteY4" fmla="*/ 106785 h 151447"/>
                  <a:gd name="connsiteX5" fmla="*/ 36347 w 92868"/>
                  <a:gd name="connsiteY5" fmla="*/ 5045 h 151447"/>
                  <a:gd name="connsiteX6" fmla="*/ 57817 w 92868"/>
                  <a:gd name="connsiteY6" fmla="*/ 5045 h 151447"/>
                  <a:gd name="connsiteX7" fmla="*/ 94152 w 92868"/>
                  <a:gd name="connsiteY7" fmla="*/ 106785 h 151447"/>
                  <a:gd name="connsiteX8" fmla="*/ 94165 w 92868"/>
                  <a:gd name="connsiteY8" fmla="*/ 134227 h 151447"/>
                  <a:gd name="connsiteX9" fmla="*/ 84358 w 92868"/>
                  <a:gd name="connsiteY9" fmla="*/ 147181 h 151447"/>
                  <a:gd name="connsiteX10" fmla="*/ 47083 w 92868"/>
                  <a:gd name="connsiteY10" fmla="*/ 152322 h 151447"/>
                  <a:gd name="connsiteX11" fmla="*/ 26905 w 92868"/>
                  <a:gd name="connsiteY11" fmla="*/ 123561 h 151447"/>
                  <a:gd name="connsiteX12" fmla="*/ 67261 w 92868"/>
                  <a:gd name="connsiteY12" fmla="*/ 123561 h 151447"/>
                  <a:gd name="connsiteX13" fmla="*/ 67261 w 92868"/>
                  <a:gd name="connsiteY13" fmla="*/ 107325 h 151447"/>
                  <a:gd name="connsiteX14" fmla="*/ 47083 w 92868"/>
                  <a:gd name="connsiteY14" fmla="*/ 37520 h 151447"/>
                  <a:gd name="connsiteX15" fmla="*/ 26905 w 92868"/>
                  <a:gd name="connsiteY15" fmla="*/ 107606 h 151447"/>
                  <a:gd name="connsiteX16" fmla="*/ 26905 w 92868"/>
                  <a:gd name="connsiteY16" fmla="*/ 123561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2868" h="151447">
                    <a:moveTo>
                      <a:pt x="47083" y="152322"/>
                    </a:moveTo>
                    <a:cubicBezTo>
                      <a:pt x="34531" y="152322"/>
                      <a:pt x="22008" y="150613"/>
                      <a:pt x="9807" y="147183"/>
                    </a:cubicBezTo>
                    <a:cubicBezTo>
                      <a:pt x="3996" y="145541"/>
                      <a:pt x="0" y="140255"/>
                      <a:pt x="0" y="134228"/>
                    </a:cubicBezTo>
                    <a:lnTo>
                      <a:pt x="0" y="107323"/>
                    </a:lnTo>
                    <a:cubicBezTo>
                      <a:pt x="0" y="107135"/>
                      <a:pt x="0" y="106973"/>
                      <a:pt x="13" y="106785"/>
                    </a:cubicBezTo>
                    <a:cubicBezTo>
                      <a:pt x="1479" y="69777"/>
                      <a:pt x="14043" y="34600"/>
                      <a:pt x="36347" y="5045"/>
                    </a:cubicBezTo>
                    <a:cubicBezTo>
                      <a:pt x="41419" y="-1682"/>
                      <a:pt x="52745" y="-1682"/>
                      <a:pt x="57817" y="5045"/>
                    </a:cubicBezTo>
                    <a:cubicBezTo>
                      <a:pt x="80121" y="34586"/>
                      <a:pt x="92686" y="69777"/>
                      <a:pt x="94152" y="106785"/>
                    </a:cubicBezTo>
                    <a:lnTo>
                      <a:pt x="94165" y="134227"/>
                    </a:lnTo>
                    <a:cubicBezTo>
                      <a:pt x="94165" y="140253"/>
                      <a:pt x="90156" y="145540"/>
                      <a:pt x="84358" y="147181"/>
                    </a:cubicBezTo>
                    <a:cubicBezTo>
                      <a:pt x="72172" y="150613"/>
                      <a:pt x="59633" y="152322"/>
                      <a:pt x="47083" y="152322"/>
                    </a:cubicBezTo>
                    <a:close/>
                    <a:moveTo>
                      <a:pt x="26905" y="123561"/>
                    </a:moveTo>
                    <a:cubicBezTo>
                      <a:pt x="40249" y="126036"/>
                      <a:pt x="53917" y="126036"/>
                      <a:pt x="67261" y="123561"/>
                    </a:cubicBezTo>
                    <a:lnTo>
                      <a:pt x="67261" y="107325"/>
                    </a:lnTo>
                    <a:cubicBezTo>
                      <a:pt x="66280" y="82787"/>
                      <a:pt x="59352" y="58883"/>
                      <a:pt x="47083" y="37520"/>
                    </a:cubicBezTo>
                    <a:cubicBezTo>
                      <a:pt x="34854" y="58842"/>
                      <a:pt x="27926" y="82720"/>
                      <a:pt x="26905" y="107606"/>
                    </a:cubicBezTo>
                    <a:lnTo>
                      <a:pt x="26905" y="123561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109593">
                <a:extLst>
                  <a:ext uri="{FF2B5EF4-FFF2-40B4-BE49-F238E27FC236}">
                    <a16:creationId xmlns:a16="http://schemas.microsoft.com/office/drawing/2014/main" xmlns="" id="{2DEED5A3-0149-4BCC-945C-1B93B510B689}"/>
                  </a:ext>
                </a:extLst>
              </p:cNvPr>
              <p:cNvSpPr/>
              <p:nvPr/>
            </p:nvSpPr>
            <p:spPr>
              <a:xfrm>
                <a:off x="1853143" y="5471722"/>
                <a:ext cx="92869" cy="67151"/>
              </a:xfrm>
              <a:custGeom>
                <a:avLst/>
                <a:gdLst>
                  <a:gd name="connsiteX0" fmla="*/ 66320 w 92868"/>
                  <a:gd name="connsiteY0" fmla="*/ 67261 h 67151"/>
                  <a:gd name="connsiteX1" fmla="*/ 27846 w 92868"/>
                  <a:gd name="connsiteY1" fmla="*/ 67261 h 67151"/>
                  <a:gd name="connsiteX2" fmla="*/ 0 w 92868"/>
                  <a:gd name="connsiteY2" fmla="*/ 33630 h 67151"/>
                  <a:gd name="connsiteX3" fmla="*/ 27846 w 92868"/>
                  <a:gd name="connsiteY3" fmla="*/ 0 h 67151"/>
                  <a:gd name="connsiteX4" fmla="*/ 66320 w 92868"/>
                  <a:gd name="connsiteY4" fmla="*/ 0 h 67151"/>
                  <a:gd name="connsiteX5" fmla="*/ 94166 w 92868"/>
                  <a:gd name="connsiteY5" fmla="*/ 33630 h 67151"/>
                  <a:gd name="connsiteX6" fmla="*/ 66320 w 92868"/>
                  <a:gd name="connsiteY6" fmla="*/ 67261 h 67151"/>
                  <a:gd name="connsiteX7" fmla="*/ 28801 w 92868"/>
                  <a:gd name="connsiteY7" fmla="*/ 40356 h 67151"/>
                  <a:gd name="connsiteX8" fmla="*/ 66305 w 92868"/>
                  <a:gd name="connsiteY8" fmla="*/ 40356 h 67151"/>
                  <a:gd name="connsiteX9" fmla="*/ 67247 w 92868"/>
                  <a:gd name="connsiteY9" fmla="*/ 33630 h 67151"/>
                  <a:gd name="connsiteX10" fmla="*/ 65014 w 92868"/>
                  <a:gd name="connsiteY10" fmla="*/ 26595 h 67151"/>
                  <a:gd name="connsiteX11" fmla="*/ 27832 w 92868"/>
                  <a:gd name="connsiteY11" fmla="*/ 26905 h 67151"/>
                  <a:gd name="connsiteX12" fmla="*/ 26891 w 92868"/>
                  <a:gd name="connsiteY12" fmla="*/ 33631 h 67151"/>
                  <a:gd name="connsiteX13" fmla="*/ 28801 w 92868"/>
                  <a:gd name="connsiteY13" fmla="*/ 40356 h 6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2868" h="67151">
                    <a:moveTo>
                      <a:pt x="66320" y="67261"/>
                    </a:moveTo>
                    <a:lnTo>
                      <a:pt x="27846" y="67261"/>
                    </a:lnTo>
                    <a:cubicBezTo>
                      <a:pt x="12229" y="67261"/>
                      <a:pt x="0" y="52491"/>
                      <a:pt x="0" y="33630"/>
                    </a:cubicBezTo>
                    <a:cubicBezTo>
                      <a:pt x="0" y="14770"/>
                      <a:pt x="12229" y="0"/>
                      <a:pt x="27846" y="0"/>
                    </a:cubicBezTo>
                    <a:lnTo>
                      <a:pt x="66320" y="0"/>
                    </a:lnTo>
                    <a:cubicBezTo>
                      <a:pt x="81937" y="0"/>
                      <a:pt x="94166" y="14770"/>
                      <a:pt x="94166" y="33630"/>
                    </a:cubicBezTo>
                    <a:cubicBezTo>
                      <a:pt x="94166" y="52491"/>
                      <a:pt x="81925" y="67261"/>
                      <a:pt x="66320" y="67261"/>
                    </a:cubicBezTo>
                    <a:close/>
                    <a:moveTo>
                      <a:pt x="28801" y="40356"/>
                    </a:moveTo>
                    <a:lnTo>
                      <a:pt x="66305" y="40356"/>
                    </a:lnTo>
                    <a:cubicBezTo>
                      <a:pt x="65605" y="40249"/>
                      <a:pt x="67247" y="37788"/>
                      <a:pt x="67247" y="33630"/>
                    </a:cubicBezTo>
                    <a:cubicBezTo>
                      <a:pt x="67247" y="29472"/>
                      <a:pt x="65605" y="27012"/>
                      <a:pt x="65014" y="26595"/>
                    </a:cubicBezTo>
                    <a:lnTo>
                      <a:pt x="27832" y="26905"/>
                    </a:lnTo>
                    <a:cubicBezTo>
                      <a:pt x="28532" y="27012"/>
                      <a:pt x="26891" y="29474"/>
                      <a:pt x="26891" y="33631"/>
                    </a:cubicBezTo>
                    <a:cubicBezTo>
                      <a:pt x="26891" y="37182"/>
                      <a:pt x="28088" y="39495"/>
                      <a:pt x="28801" y="40356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109594">
                <a:extLst>
                  <a:ext uri="{FF2B5EF4-FFF2-40B4-BE49-F238E27FC236}">
                    <a16:creationId xmlns:a16="http://schemas.microsoft.com/office/drawing/2014/main" xmlns="" id="{3BDB84B3-828A-4923-ABA6-207FEFF81643}"/>
                  </a:ext>
                </a:extLst>
              </p:cNvPr>
              <p:cNvSpPr/>
              <p:nvPr/>
            </p:nvSpPr>
            <p:spPr>
              <a:xfrm>
                <a:off x="1824190" y="5315888"/>
                <a:ext cx="75724" cy="174308"/>
              </a:xfrm>
              <a:custGeom>
                <a:avLst/>
                <a:gdLst>
                  <a:gd name="connsiteX0" fmla="*/ 58534 w 75723"/>
                  <a:gd name="connsiteY0" fmla="*/ 175232 h 174307"/>
                  <a:gd name="connsiteX1" fmla="*/ 31952 w 75723"/>
                  <a:gd name="connsiteY1" fmla="*/ 144387 h 174307"/>
                  <a:gd name="connsiteX2" fmla="*/ 380 w 75723"/>
                  <a:gd name="connsiteY2" fmla="*/ 45230 h 174307"/>
                  <a:gd name="connsiteX3" fmla="*/ 6823 w 75723"/>
                  <a:gd name="connsiteY3" fmla="*/ 9259 h 174307"/>
                  <a:gd name="connsiteX4" fmla="*/ 20841 w 75723"/>
                  <a:gd name="connsiteY4" fmla="*/ 273 h 174307"/>
                  <a:gd name="connsiteX5" fmla="*/ 29826 w 75723"/>
                  <a:gd name="connsiteY5" fmla="*/ 14276 h 174307"/>
                  <a:gd name="connsiteX6" fmla="*/ 23880 w 75723"/>
                  <a:gd name="connsiteY6" fmla="*/ 46696 h 174307"/>
                  <a:gd name="connsiteX7" fmla="*/ 49304 w 75723"/>
                  <a:gd name="connsiteY7" fmla="*/ 128486 h 174307"/>
                  <a:gd name="connsiteX8" fmla="*/ 76585 w 75723"/>
                  <a:gd name="connsiteY8" fmla="*/ 160126 h 174307"/>
                  <a:gd name="connsiteX9" fmla="*/ 58534 w 75723"/>
                  <a:gd name="connsiteY9" fmla="*/ 175232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723" h="174307">
                    <a:moveTo>
                      <a:pt x="58534" y="175232"/>
                    </a:moveTo>
                    <a:cubicBezTo>
                      <a:pt x="58507" y="175205"/>
                      <a:pt x="41382" y="154758"/>
                      <a:pt x="31952" y="144387"/>
                    </a:cubicBezTo>
                    <a:cubicBezTo>
                      <a:pt x="15567" y="126616"/>
                      <a:pt x="-2889" y="99228"/>
                      <a:pt x="380" y="45230"/>
                    </a:cubicBezTo>
                    <a:cubicBezTo>
                      <a:pt x="958" y="36203"/>
                      <a:pt x="6218" y="11990"/>
                      <a:pt x="6823" y="9259"/>
                    </a:cubicBezTo>
                    <a:cubicBezTo>
                      <a:pt x="8222" y="2909"/>
                      <a:pt x="14531" y="-1113"/>
                      <a:pt x="20841" y="273"/>
                    </a:cubicBezTo>
                    <a:cubicBezTo>
                      <a:pt x="27190" y="1659"/>
                      <a:pt x="31212" y="7927"/>
                      <a:pt x="29826" y="14276"/>
                    </a:cubicBezTo>
                    <a:cubicBezTo>
                      <a:pt x="27715" y="23935"/>
                      <a:pt x="24230" y="41276"/>
                      <a:pt x="23880" y="46696"/>
                    </a:cubicBezTo>
                    <a:cubicBezTo>
                      <a:pt x="21162" y="91506"/>
                      <a:pt x="35207" y="113190"/>
                      <a:pt x="49304" y="128486"/>
                    </a:cubicBezTo>
                    <a:cubicBezTo>
                      <a:pt x="59017" y="139153"/>
                      <a:pt x="76585" y="160126"/>
                      <a:pt x="76585" y="160126"/>
                    </a:cubicBezTo>
                    <a:lnTo>
                      <a:pt x="58534" y="175232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109596">
                <a:extLst>
                  <a:ext uri="{FF2B5EF4-FFF2-40B4-BE49-F238E27FC236}">
                    <a16:creationId xmlns:a16="http://schemas.microsoft.com/office/drawing/2014/main" xmlns="" id="{E3AA3D88-6467-45DF-B78B-6141C97C8F5F}"/>
                  </a:ext>
                </a:extLst>
              </p:cNvPr>
              <p:cNvSpPr/>
              <p:nvPr/>
            </p:nvSpPr>
            <p:spPr>
              <a:xfrm>
                <a:off x="2135640" y="5471722"/>
                <a:ext cx="92869" cy="67151"/>
              </a:xfrm>
              <a:custGeom>
                <a:avLst/>
                <a:gdLst>
                  <a:gd name="connsiteX0" fmla="*/ 66307 w 92868"/>
                  <a:gd name="connsiteY0" fmla="*/ 67261 h 67151"/>
                  <a:gd name="connsiteX1" fmla="*/ 27846 w 92868"/>
                  <a:gd name="connsiteY1" fmla="*/ 67261 h 67151"/>
                  <a:gd name="connsiteX2" fmla="*/ 0 w 92868"/>
                  <a:gd name="connsiteY2" fmla="*/ 33630 h 67151"/>
                  <a:gd name="connsiteX3" fmla="*/ 27846 w 92868"/>
                  <a:gd name="connsiteY3" fmla="*/ 0 h 67151"/>
                  <a:gd name="connsiteX4" fmla="*/ 66307 w 92868"/>
                  <a:gd name="connsiteY4" fmla="*/ 0 h 67151"/>
                  <a:gd name="connsiteX5" fmla="*/ 94153 w 92868"/>
                  <a:gd name="connsiteY5" fmla="*/ 33630 h 67151"/>
                  <a:gd name="connsiteX6" fmla="*/ 66307 w 92868"/>
                  <a:gd name="connsiteY6" fmla="*/ 67261 h 67151"/>
                  <a:gd name="connsiteX7" fmla="*/ 65015 w 92868"/>
                  <a:gd name="connsiteY7" fmla="*/ 26595 h 67151"/>
                  <a:gd name="connsiteX8" fmla="*/ 27833 w 92868"/>
                  <a:gd name="connsiteY8" fmla="*/ 26905 h 67151"/>
                  <a:gd name="connsiteX9" fmla="*/ 26892 w 92868"/>
                  <a:gd name="connsiteY9" fmla="*/ 33631 h 67151"/>
                  <a:gd name="connsiteX10" fmla="*/ 29125 w 92868"/>
                  <a:gd name="connsiteY10" fmla="*/ 40667 h 67151"/>
                  <a:gd name="connsiteX11" fmla="*/ 65325 w 92868"/>
                  <a:gd name="connsiteY11" fmla="*/ 40371 h 67151"/>
                  <a:gd name="connsiteX12" fmla="*/ 67248 w 92868"/>
                  <a:gd name="connsiteY12" fmla="*/ 33631 h 67151"/>
                  <a:gd name="connsiteX13" fmla="*/ 65015 w 92868"/>
                  <a:gd name="connsiteY13" fmla="*/ 26595 h 67151"/>
                  <a:gd name="connsiteX14" fmla="*/ 66307 w 92868"/>
                  <a:gd name="connsiteY14" fmla="*/ 40356 h 67151"/>
                  <a:gd name="connsiteX15" fmla="*/ 66253 w 92868"/>
                  <a:gd name="connsiteY15" fmla="*/ 40356 h 67151"/>
                  <a:gd name="connsiteX16" fmla="*/ 66307 w 92868"/>
                  <a:gd name="connsiteY16" fmla="*/ 40356 h 6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2868" h="67151">
                    <a:moveTo>
                      <a:pt x="66307" y="67261"/>
                    </a:moveTo>
                    <a:lnTo>
                      <a:pt x="27846" y="67261"/>
                    </a:lnTo>
                    <a:cubicBezTo>
                      <a:pt x="12229" y="67261"/>
                      <a:pt x="0" y="52491"/>
                      <a:pt x="0" y="33630"/>
                    </a:cubicBezTo>
                    <a:cubicBezTo>
                      <a:pt x="0" y="14770"/>
                      <a:pt x="12229" y="0"/>
                      <a:pt x="27846" y="0"/>
                    </a:cubicBezTo>
                    <a:lnTo>
                      <a:pt x="66307" y="0"/>
                    </a:lnTo>
                    <a:cubicBezTo>
                      <a:pt x="81925" y="0"/>
                      <a:pt x="94153" y="14770"/>
                      <a:pt x="94153" y="33630"/>
                    </a:cubicBezTo>
                    <a:cubicBezTo>
                      <a:pt x="94153" y="52491"/>
                      <a:pt x="81925" y="67261"/>
                      <a:pt x="66307" y="67261"/>
                    </a:cubicBezTo>
                    <a:close/>
                    <a:moveTo>
                      <a:pt x="65015" y="26595"/>
                    </a:moveTo>
                    <a:lnTo>
                      <a:pt x="27833" y="26905"/>
                    </a:lnTo>
                    <a:cubicBezTo>
                      <a:pt x="28534" y="27012"/>
                      <a:pt x="26892" y="29474"/>
                      <a:pt x="26892" y="33631"/>
                    </a:cubicBezTo>
                    <a:cubicBezTo>
                      <a:pt x="26892" y="37789"/>
                      <a:pt x="28534" y="40249"/>
                      <a:pt x="29125" y="40667"/>
                    </a:cubicBezTo>
                    <a:lnTo>
                      <a:pt x="65325" y="40371"/>
                    </a:lnTo>
                    <a:cubicBezTo>
                      <a:pt x="66038" y="39509"/>
                      <a:pt x="67248" y="37196"/>
                      <a:pt x="67248" y="33631"/>
                    </a:cubicBezTo>
                    <a:cubicBezTo>
                      <a:pt x="67248" y="29487"/>
                      <a:pt x="65607" y="27012"/>
                      <a:pt x="65015" y="26595"/>
                    </a:cubicBezTo>
                    <a:close/>
                    <a:moveTo>
                      <a:pt x="66307" y="40356"/>
                    </a:moveTo>
                    <a:cubicBezTo>
                      <a:pt x="66294" y="40356"/>
                      <a:pt x="66267" y="40356"/>
                      <a:pt x="66253" y="40356"/>
                    </a:cubicBezTo>
                    <a:lnTo>
                      <a:pt x="66307" y="40356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109597">
                <a:extLst>
                  <a:ext uri="{FF2B5EF4-FFF2-40B4-BE49-F238E27FC236}">
                    <a16:creationId xmlns:a16="http://schemas.microsoft.com/office/drawing/2014/main" xmlns="" id="{EF38A101-CEA6-4342-A0B5-B734726564DC}"/>
                  </a:ext>
                </a:extLst>
              </p:cNvPr>
              <p:cNvSpPr/>
              <p:nvPr/>
            </p:nvSpPr>
            <p:spPr>
              <a:xfrm>
                <a:off x="2182159" y="5315893"/>
                <a:ext cx="75724" cy="174308"/>
              </a:xfrm>
              <a:custGeom>
                <a:avLst/>
                <a:gdLst>
                  <a:gd name="connsiteX0" fmla="*/ 18052 w 75723"/>
                  <a:gd name="connsiteY0" fmla="*/ 175227 h 174307"/>
                  <a:gd name="connsiteX1" fmla="*/ 0 w 75723"/>
                  <a:gd name="connsiteY1" fmla="*/ 160121 h 174307"/>
                  <a:gd name="connsiteX2" fmla="*/ 27213 w 75723"/>
                  <a:gd name="connsiteY2" fmla="*/ 128536 h 174307"/>
                  <a:gd name="connsiteX3" fmla="*/ 52705 w 75723"/>
                  <a:gd name="connsiteY3" fmla="*/ 46638 h 174307"/>
                  <a:gd name="connsiteX4" fmla="*/ 46773 w 75723"/>
                  <a:gd name="connsiteY4" fmla="*/ 14273 h 174307"/>
                  <a:gd name="connsiteX5" fmla="*/ 55758 w 75723"/>
                  <a:gd name="connsiteY5" fmla="*/ 270 h 174307"/>
                  <a:gd name="connsiteX6" fmla="*/ 69762 w 75723"/>
                  <a:gd name="connsiteY6" fmla="*/ 9255 h 174307"/>
                  <a:gd name="connsiteX7" fmla="*/ 76205 w 75723"/>
                  <a:gd name="connsiteY7" fmla="*/ 45172 h 174307"/>
                  <a:gd name="connsiteX8" fmla="*/ 44593 w 75723"/>
                  <a:gd name="connsiteY8" fmla="*/ 144436 h 174307"/>
                  <a:gd name="connsiteX9" fmla="*/ 18052 w 75723"/>
                  <a:gd name="connsiteY9" fmla="*/ 175227 h 17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723" h="174307">
                    <a:moveTo>
                      <a:pt x="18052" y="175227"/>
                    </a:moveTo>
                    <a:lnTo>
                      <a:pt x="0" y="160121"/>
                    </a:lnTo>
                    <a:cubicBezTo>
                      <a:pt x="0" y="160121"/>
                      <a:pt x="17569" y="139148"/>
                      <a:pt x="27213" y="128536"/>
                    </a:cubicBezTo>
                    <a:cubicBezTo>
                      <a:pt x="41378" y="113174"/>
                      <a:pt x="55423" y="91501"/>
                      <a:pt x="52705" y="46638"/>
                    </a:cubicBezTo>
                    <a:cubicBezTo>
                      <a:pt x="52355" y="41270"/>
                      <a:pt x="48872" y="23931"/>
                      <a:pt x="46773" y="14273"/>
                    </a:cubicBezTo>
                    <a:cubicBezTo>
                      <a:pt x="45374" y="7923"/>
                      <a:pt x="49396" y="1654"/>
                      <a:pt x="55758" y="270"/>
                    </a:cubicBezTo>
                    <a:cubicBezTo>
                      <a:pt x="62013" y="-1102"/>
                      <a:pt x="68377" y="2893"/>
                      <a:pt x="69762" y="9255"/>
                    </a:cubicBezTo>
                    <a:cubicBezTo>
                      <a:pt x="70367" y="11985"/>
                      <a:pt x="75627" y="36200"/>
                      <a:pt x="76205" y="45172"/>
                    </a:cubicBezTo>
                    <a:cubicBezTo>
                      <a:pt x="79487" y="99210"/>
                      <a:pt x="61030" y="126612"/>
                      <a:pt x="44593" y="144436"/>
                    </a:cubicBezTo>
                    <a:cubicBezTo>
                      <a:pt x="35204" y="154752"/>
                      <a:pt x="18052" y="175227"/>
                      <a:pt x="18052" y="175227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109598">
                <a:extLst>
                  <a:ext uri="{FF2B5EF4-FFF2-40B4-BE49-F238E27FC236}">
                    <a16:creationId xmlns:a16="http://schemas.microsoft.com/office/drawing/2014/main" xmlns="" id="{85716C88-04A4-4DDA-A18C-C485ED7D3A70}"/>
                  </a:ext>
                </a:extLst>
              </p:cNvPr>
              <p:cNvSpPr/>
              <p:nvPr/>
            </p:nvSpPr>
            <p:spPr>
              <a:xfrm>
                <a:off x="1843458" y="5214770"/>
                <a:ext cx="395764" cy="195739"/>
              </a:xfrm>
              <a:custGeom>
                <a:avLst/>
                <a:gdLst>
                  <a:gd name="connsiteX0" fmla="*/ 198138 w 395763"/>
                  <a:gd name="connsiteY0" fmla="*/ 196349 h 195738"/>
                  <a:gd name="connsiteX1" fmla="*/ 54791 w 395763"/>
                  <a:gd name="connsiteY1" fmla="*/ 73503 h 195738"/>
                  <a:gd name="connsiteX2" fmla="*/ 0 w 395763"/>
                  <a:gd name="connsiteY2" fmla="*/ 2717 h 195738"/>
                  <a:gd name="connsiteX3" fmla="*/ 23380 w 395763"/>
                  <a:gd name="connsiteY3" fmla="*/ 0 h 195738"/>
                  <a:gd name="connsiteX4" fmla="*/ 63615 w 395763"/>
                  <a:gd name="connsiteY4" fmla="*/ 50661 h 195738"/>
                  <a:gd name="connsiteX5" fmla="*/ 74888 w 395763"/>
                  <a:gd name="connsiteY5" fmla="*/ 59042 h 195738"/>
                  <a:gd name="connsiteX6" fmla="*/ 198138 w 395763"/>
                  <a:gd name="connsiteY6" fmla="*/ 172807 h 195738"/>
                  <a:gd name="connsiteX7" fmla="*/ 321387 w 395763"/>
                  <a:gd name="connsiteY7" fmla="*/ 59015 h 195738"/>
                  <a:gd name="connsiteX8" fmla="*/ 332660 w 395763"/>
                  <a:gd name="connsiteY8" fmla="*/ 50661 h 195738"/>
                  <a:gd name="connsiteX9" fmla="*/ 373031 w 395763"/>
                  <a:gd name="connsiteY9" fmla="*/ 0 h 195738"/>
                  <a:gd name="connsiteX10" fmla="*/ 396411 w 395763"/>
                  <a:gd name="connsiteY10" fmla="*/ 2717 h 195738"/>
                  <a:gd name="connsiteX11" fmla="*/ 341458 w 395763"/>
                  <a:gd name="connsiteY11" fmla="*/ 73503 h 195738"/>
                  <a:gd name="connsiteX12" fmla="*/ 198138 w 395763"/>
                  <a:gd name="connsiteY12" fmla="*/ 196349 h 195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5763" h="195738">
                    <a:moveTo>
                      <a:pt x="198138" y="196349"/>
                    </a:moveTo>
                    <a:cubicBezTo>
                      <a:pt x="136540" y="196349"/>
                      <a:pt x="79731" y="147301"/>
                      <a:pt x="54791" y="73503"/>
                    </a:cubicBezTo>
                    <a:cubicBezTo>
                      <a:pt x="26070" y="68863"/>
                      <a:pt x="4521" y="41581"/>
                      <a:pt x="0" y="2717"/>
                    </a:cubicBezTo>
                    <a:lnTo>
                      <a:pt x="23380" y="0"/>
                    </a:lnTo>
                    <a:cubicBezTo>
                      <a:pt x="26905" y="30294"/>
                      <a:pt x="43074" y="50661"/>
                      <a:pt x="63615" y="50661"/>
                    </a:cubicBezTo>
                    <a:cubicBezTo>
                      <a:pt x="68807" y="50661"/>
                      <a:pt x="73395" y="54064"/>
                      <a:pt x="74888" y="59042"/>
                    </a:cubicBezTo>
                    <a:cubicBezTo>
                      <a:pt x="98551" y="137630"/>
                      <a:pt x="153839" y="172807"/>
                      <a:pt x="198138" y="172807"/>
                    </a:cubicBezTo>
                    <a:cubicBezTo>
                      <a:pt x="242342" y="172807"/>
                      <a:pt x="297617" y="137630"/>
                      <a:pt x="321387" y="59015"/>
                    </a:cubicBezTo>
                    <a:cubicBezTo>
                      <a:pt x="322895" y="54051"/>
                      <a:pt x="327468" y="50661"/>
                      <a:pt x="332660" y="50661"/>
                    </a:cubicBezTo>
                    <a:cubicBezTo>
                      <a:pt x="353606" y="50661"/>
                      <a:pt x="369439" y="30765"/>
                      <a:pt x="373031" y="0"/>
                    </a:cubicBezTo>
                    <a:lnTo>
                      <a:pt x="396411" y="2717"/>
                    </a:lnTo>
                    <a:cubicBezTo>
                      <a:pt x="391878" y="41608"/>
                      <a:pt x="370286" y="68876"/>
                      <a:pt x="341458" y="73503"/>
                    </a:cubicBezTo>
                    <a:cubicBezTo>
                      <a:pt x="316424" y="147330"/>
                      <a:pt x="259615" y="196349"/>
                      <a:pt x="198138" y="196349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66">
                <a:extLst>
                  <a:ext uri="{FF2B5EF4-FFF2-40B4-BE49-F238E27FC236}">
                    <a16:creationId xmlns:a16="http://schemas.microsoft.com/office/drawing/2014/main" xmlns="" id="{269BE9E4-52E0-496E-BD1E-E61CB31D842C}"/>
                  </a:ext>
                </a:extLst>
              </p:cNvPr>
              <p:cNvSpPr/>
              <p:nvPr/>
            </p:nvSpPr>
            <p:spPr>
              <a:xfrm>
                <a:off x="1792615" y="4906270"/>
                <a:ext cx="498634" cy="444341"/>
              </a:xfrm>
              <a:custGeom>
                <a:avLst/>
                <a:gdLst>
                  <a:gd name="connsiteX0" fmla="*/ 433815 w 498633"/>
                  <a:gd name="connsiteY0" fmla="*/ 444716 h 444341"/>
                  <a:gd name="connsiteX1" fmla="*/ 425610 w 498633"/>
                  <a:gd name="connsiteY1" fmla="*/ 441380 h 444341"/>
                  <a:gd name="connsiteX2" fmla="*/ 425381 w 498633"/>
                  <a:gd name="connsiteY2" fmla="*/ 424740 h 444341"/>
                  <a:gd name="connsiteX3" fmla="*/ 473554 w 498633"/>
                  <a:gd name="connsiteY3" fmla="*/ 318399 h 444341"/>
                  <a:gd name="connsiteX4" fmla="*/ 459604 w 498633"/>
                  <a:gd name="connsiteY4" fmla="*/ 264132 h 444341"/>
                  <a:gd name="connsiteX5" fmla="*/ 395195 w 498633"/>
                  <a:gd name="connsiteY5" fmla="*/ 98832 h 444341"/>
                  <a:gd name="connsiteX6" fmla="*/ 384595 w 498633"/>
                  <a:gd name="connsiteY6" fmla="*/ 85917 h 444341"/>
                  <a:gd name="connsiteX7" fmla="*/ 253234 w 498633"/>
                  <a:gd name="connsiteY7" fmla="*/ 30333 h 444341"/>
                  <a:gd name="connsiteX8" fmla="*/ 245794 w 498633"/>
                  <a:gd name="connsiteY8" fmla="*/ 30333 h 444341"/>
                  <a:gd name="connsiteX9" fmla="*/ 114434 w 498633"/>
                  <a:gd name="connsiteY9" fmla="*/ 85917 h 444341"/>
                  <a:gd name="connsiteX10" fmla="*/ 103834 w 498633"/>
                  <a:gd name="connsiteY10" fmla="*/ 98844 h 444341"/>
                  <a:gd name="connsiteX11" fmla="*/ 37487 w 498633"/>
                  <a:gd name="connsiteY11" fmla="*/ 270939 h 444341"/>
                  <a:gd name="connsiteX12" fmla="*/ 25501 w 498633"/>
                  <a:gd name="connsiteY12" fmla="*/ 318305 h 444341"/>
                  <a:gd name="connsiteX13" fmla="*/ 73660 w 498633"/>
                  <a:gd name="connsiteY13" fmla="*/ 424740 h 444341"/>
                  <a:gd name="connsiteX14" fmla="*/ 73431 w 498633"/>
                  <a:gd name="connsiteY14" fmla="*/ 441380 h 444341"/>
                  <a:gd name="connsiteX15" fmla="*/ 56791 w 498633"/>
                  <a:gd name="connsiteY15" fmla="*/ 441152 h 444341"/>
                  <a:gd name="connsiteX16" fmla="*/ 2727 w 498633"/>
                  <a:gd name="connsiteY16" fmla="*/ 312347 h 444341"/>
                  <a:gd name="connsiteX17" fmla="*/ 14658 w 498633"/>
                  <a:gd name="connsiteY17" fmla="*/ 265197 h 444341"/>
                  <a:gd name="connsiteX18" fmla="*/ 85794 w 498633"/>
                  <a:gd name="connsiteY18" fmla="*/ 83698 h 444341"/>
                  <a:gd name="connsiteX19" fmla="*/ 96153 w 498633"/>
                  <a:gd name="connsiteY19" fmla="*/ 71067 h 444341"/>
                  <a:gd name="connsiteX20" fmla="*/ 249509 w 498633"/>
                  <a:gd name="connsiteY20" fmla="*/ 6792 h 444341"/>
                  <a:gd name="connsiteX21" fmla="*/ 402866 w 498633"/>
                  <a:gd name="connsiteY21" fmla="*/ 71067 h 444341"/>
                  <a:gd name="connsiteX22" fmla="*/ 413224 w 498633"/>
                  <a:gd name="connsiteY22" fmla="*/ 83685 h 444341"/>
                  <a:gd name="connsiteX23" fmla="*/ 482423 w 498633"/>
                  <a:gd name="connsiteY23" fmla="*/ 258323 h 444341"/>
                  <a:gd name="connsiteX24" fmla="*/ 496319 w 498633"/>
                  <a:gd name="connsiteY24" fmla="*/ 312374 h 444341"/>
                  <a:gd name="connsiteX25" fmla="*/ 442240 w 498633"/>
                  <a:gd name="connsiteY25" fmla="*/ 441139 h 444341"/>
                  <a:gd name="connsiteX26" fmla="*/ 433815 w 498633"/>
                  <a:gd name="connsiteY26" fmla="*/ 444716 h 444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98633" h="444341">
                    <a:moveTo>
                      <a:pt x="433815" y="444716"/>
                    </a:moveTo>
                    <a:cubicBezTo>
                      <a:pt x="430856" y="444716"/>
                      <a:pt x="427896" y="443613"/>
                      <a:pt x="425610" y="441380"/>
                    </a:cubicBezTo>
                    <a:cubicBezTo>
                      <a:pt x="420942" y="436847"/>
                      <a:pt x="420848" y="429394"/>
                      <a:pt x="425381" y="424740"/>
                    </a:cubicBezTo>
                    <a:cubicBezTo>
                      <a:pt x="452770" y="396597"/>
                      <a:pt x="483374" y="355312"/>
                      <a:pt x="473554" y="318399"/>
                    </a:cubicBezTo>
                    <a:cubicBezTo>
                      <a:pt x="468348" y="298544"/>
                      <a:pt x="463775" y="280557"/>
                      <a:pt x="459604" y="264132"/>
                    </a:cubicBezTo>
                    <a:cubicBezTo>
                      <a:pt x="438134" y="179639"/>
                      <a:pt x="427373" y="137224"/>
                      <a:pt x="395195" y="98832"/>
                    </a:cubicBezTo>
                    <a:cubicBezTo>
                      <a:pt x="391657" y="94621"/>
                      <a:pt x="388145" y="90289"/>
                      <a:pt x="384595" y="85917"/>
                    </a:cubicBezTo>
                    <a:cubicBezTo>
                      <a:pt x="351973" y="45695"/>
                      <a:pt x="321127" y="7746"/>
                      <a:pt x="253234" y="30333"/>
                    </a:cubicBezTo>
                    <a:cubicBezTo>
                      <a:pt x="250812" y="31140"/>
                      <a:pt x="248216" y="31140"/>
                      <a:pt x="245794" y="30333"/>
                    </a:cubicBezTo>
                    <a:cubicBezTo>
                      <a:pt x="177887" y="7706"/>
                      <a:pt x="147055" y="45709"/>
                      <a:pt x="114434" y="85917"/>
                    </a:cubicBezTo>
                    <a:cubicBezTo>
                      <a:pt x="110882" y="90289"/>
                      <a:pt x="107371" y="94621"/>
                      <a:pt x="103834" y="98844"/>
                    </a:cubicBezTo>
                    <a:cubicBezTo>
                      <a:pt x="70781" y="138274"/>
                      <a:pt x="59657" y="182612"/>
                      <a:pt x="37487" y="270939"/>
                    </a:cubicBezTo>
                    <a:cubicBezTo>
                      <a:pt x="33841" y="285494"/>
                      <a:pt x="29886" y="301220"/>
                      <a:pt x="25501" y="318305"/>
                    </a:cubicBezTo>
                    <a:cubicBezTo>
                      <a:pt x="15667" y="355312"/>
                      <a:pt x="46258" y="396597"/>
                      <a:pt x="73660" y="424740"/>
                    </a:cubicBezTo>
                    <a:cubicBezTo>
                      <a:pt x="78193" y="429407"/>
                      <a:pt x="78099" y="436847"/>
                      <a:pt x="73431" y="441380"/>
                    </a:cubicBezTo>
                    <a:cubicBezTo>
                      <a:pt x="68764" y="445914"/>
                      <a:pt x="61324" y="445792"/>
                      <a:pt x="56791" y="441152"/>
                    </a:cubicBezTo>
                    <a:cubicBezTo>
                      <a:pt x="10771" y="393880"/>
                      <a:pt x="-7417" y="350550"/>
                      <a:pt x="2727" y="312347"/>
                    </a:cubicBezTo>
                    <a:cubicBezTo>
                      <a:pt x="7086" y="295398"/>
                      <a:pt x="11014" y="279699"/>
                      <a:pt x="14658" y="265197"/>
                    </a:cubicBezTo>
                    <a:cubicBezTo>
                      <a:pt x="37703" y="173358"/>
                      <a:pt x="49271" y="127271"/>
                      <a:pt x="85794" y="83698"/>
                    </a:cubicBezTo>
                    <a:cubicBezTo>
                      <a:pt x="89252" y="79568"/>
                      <a:pt x="92695" y="75332"/>
                      <a:pt x="96153" y="71067"/>
                    </a:cubicBezTo>
                    <a:cubicBezTo>
                      <a:pt x="128505" y="31195"/>
                      <a:pt x="168606" y="-18270"/>
                      <a:pt x="249509" y="6792"/>
                    </a:cubicBezTo>
                    <a:cubicBezTo>
                      <a:pt x="330411" y="-18270"/>
                      <a:pt x="370511" y="31207"/>
                      <a:pt x="402866" y="71067"/>
                    </a:cubicBezTo>
                    <a:cubicBezTo>
                      <a:pt x="406336" y="75332"/>
                      <a:pt x="409766" y="79569"/>
                      <a:pt x="413224" y="83685"/>
                    </a:cubicBezTo>
                    <a:cubicBezTo>
                      <a:pt x="448858" y="126195"/>
                      <a:pt x="460064" y="170358"/>
                      <a:pt x="482423" y="258323"/>
                    </a:cubicBezTo>
                    <a:cubicBezTo>
                      <a:pt x="486593" y="274708"/>
                      <a:pt x="491127" y="292626"/>
                      <a:pt x="496319" y="312374"/>
                    </a:cubicBezTo>
                    <a:cubicBezTo>
                      <a:pt x="506461" y="350537"/>
                      <a:pt x="488260" y="393881"/>
                      <a:pt x="442240" y="441139"/>
                    </a:cubicBezTo>
                    <a:cubicBezTo>
                      <a:pt x="439936" y="443519"/>
                      <a:pt x="436883" y="444716"/>
                      <a:pt x="433815" y="444716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68">
                <a:extLst>
                  <a:ext uri="{FF2B5EF4-FFF2-40B4-BE49-F238E27FC236}">
                    <a16:creationId xmlns:a16="http://schemas.microsoft.com/office/drawing/2014/main" xmlns="" id="{2421319A-614C-4EC7-81DD-1ACDC29A836E}"/>
                  </a:ext>
                </a:extLst>
              </p:cNvPr>
              <p:cNvSpPr/>
              <p:nvPr/>
            </p:nvSpPr>
            <p:spPr>
              <a:xfrm>
                <a:off x="2125004" y="5306378"/>
                <a:ext cx="47149" cy="144304"/>
              </a:xfrm>
              <a:custGeom>
                <a:avLst/>
                <a:gdLst>
                  <a:gd name="connsiteX0" fmla="*/ 35119 w 47148"/>
                  <a:gd name="connsiteY0" fmla="*/ 145097 h 144303"/>
                  <a:gd name="connsiteX1" fmla="*/ 26577 w 47148"/>
                  <a:gd name="connsiteY1" fmla="*/ 141438 h 144303"/>
                  <a:gd name="connsiteX2" fmla="*/ 12169 w 47148"/>
                  <a:gd name="connsiteY2" fmla="*/ 28358 h 144303"/>
                  <a:gd name="connsiteX3" fmla="*/ 27155 w 47148"/>
                  <a:gd name="connsiteY3" fmla="*/ 0 h 144303"/>
                  <a:gd name="connsiteX4" fmla="*/ 47912 w 47148"/>
                  <a:gd name="connsiteY4" fmla="*/ 11084 h 144303"/>
                  <a:gd name="connsiteX5" fmla="*/ 32940 w 47148"/>
                  <a:gd name="connsiteY5" fmla="*/ 39442 h 144303"/>
                  <a:gd name="connsiteX6" fmla="*/ 43662 w 47148"/>
                  <a:gd name="connsiteY6" fmla="*/ 125227 h 144303"/>
                  <a:gd name="connsiteX7" fmla="*/ 43232 w 47148"/>
                  <a:gd name="connsiteY7" fmla="*/ 141868 h 144303"/>
                  <a:gd name="connsiteX8" fmla="*/ 35119 w 47148"/>
                  <a:gd name="connsiteY8" fmla="*/ 145097 h 14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148" h="144303">
                    <a:moveTo>
                      <a:pt x="35119" y="145097"/>
                    </a:moveTo>
                    <a:cubicBezTo>
                      <a:pt x="32012" y="145097"/>
                      <a:pt x="28891" y="143859"/>
                      <a:pt x="26577" y="141438"/>
                    </a:cubicBezTo>
                    <a:cubicBezTo>
                      <a:pt x="-2534" y="110780"/>
                      <a:pt x="-8332" y="65325"/>
                      <a:pt x="12169" y="28358"/>
                    </a:cubicBezTo>
                    <a:cubicBezTo>
                      <a:pt x="16595" y="19735"/>
                      <a:pt x="27155" y="0"/>
                      <a:pt x="27155" y="0"/>
                    </a:cubicBezTo>
                    <a:lnTo>
                      <a:pt x="47912" y="11084"/>
                    </a:lnTo>
                    <a:cubicBezTo>
                      <a:pt x="47912" y="11097"/>
                      <a:pt x="37487" y="30617"/>
                      <a:pt x="32940" y="39442"/>
                    </a:cubicBezTo>
                    <a:cubicBezTo>
                      <a:pt x="17281" y="67718"/>
                      <a:pt x="21653" y="102048"/>
                      <a:pt x="43662" y="125227"/>
                    </a:cubicBezTo>
                    <a:cubicBezTo>
                      <a:pt x="48128" y="129949"/>
                      <a:pt x="47939" y="137389"/>
                      <a:pt x="43232" y="141868"/>
                    </a:cubicBezTo>
                    <a:cubicBezTo>
                      <a:pt x="40944" y="144021"/>
                      <a:pt x="38025" y="145097"/>
                      <a:pt x="35119" y="145097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69">
                <a:extLst>
                  <a:ext uri="{FF2B5EF4-FFF2-40B4-BE49-F238E27FC236}">
                    <a16:creationId xmlns:a16="http://schemas.microsoft.com/office/drawing/2014/main" xmlns="" id="{5D45EDB5-BB3A-42CF-AB60-4BB0688E13F8}"/>
                  </a:ext>
                </a:extLst>
              </p:cNvPr>
              <p:cNvSpPr/>
              <p:nvPr/>
            </p:nvSpPr>
            <p:spPr>
              <a:xfrm>
                <a:off x="1910692" y="5306365"/>
                <a:ext cx="47149" cy="144304"/>
              </a:xfrm>
              <a:custGeom>
                <a:avLst/>
                <a:gdLst>
                  <a:gd name="connsiteX0" fmla="*/ 12793 w 47148"/>
                  <a:gd name="connsiteY0" fmla="*/ 145110 h 144303"/>
                  <a:gd name="connsiteX1" fmla="*/ 4682 w 47148"/>
                  <a:gd name="connsiteY1" fmla="*/ 141881 h 144303"/>
                  <a:gd name="connsiteX2" fmla="*/ 4252 w 47148"/>
                  <a:gd name="connsiteY2" fmla="*/ 125240 h 144303"/>
                  <a:gd name="connsiteX3" fmla="*/ 15148 w 47148"/>
                  <a:gd name="connsiteY3" fmla="*/ 39765 h 144303"/>
                  <a:gd name="connsiteX4" fmla="*/ 0 w 47148"/>
                  <a:gd name="connsiteY4" fmla="*/ 11084 h 144303"/>
                  <a:gd name="connsiteX5" fmla="*/ 20757 w 47148"/>
                  <a:gd name="connsiteY5" fmla="*/ 0 h 144303"/>
                  <a:gd name="connsiteX6" fmla="*/ 35904 w 47148"/>
                  <a:gd name="connsiteY6" fmla="*/ 28681 h 144303"/>
                  <a:gd name="connsiteX7" fmla="*/ 21336 w 47148"/>
                  <a:gd name="connsiteY7" fmla="*/ 141451 h 144303"/>
                  <a:gd name="connsiteX8" fmla="*/ 12793 w 47148"/>
                  <a:gd name="connsiteY8" fmla="*/ 145110 h 14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148" h="144303">
                    <a:moveTo>
                      <a:pt x="12793" y="145110"/>
                    </a:moveTo>
                    <a:cubicBezTo>
                      <a:pt x="9887" y="145110"/>
                      <a:pt x="6968" y="144034"/>
                      <a:pt x="4682" y="141881"/>
                    </a:cubicBezTo>
                    <a:cubicBezTo>
                      <a:pt x="-40" y="137401"/>
                      <a:pt x="-229" y="129949"/>
                      <a:pt x="4252" y="125240"/>
                    </a:cubicBezTo>
                    <a:cubicBezTo>
                      <a:pt x="26260" y="102061"/>
                      <a:pt x="30632" y="67731"/>
                      <a:pt x="15148" y="39765"/>
                    </a:cubicBezTo>
                    <a:cubicBezTo>
                      <a:pt x="10426" y="30618"/>
                      <a:pt x="0" y="11084"/>
                      <a:pt x="0" y="11084"/>
                    </a:cubicBezTo>
                    <a:lnTo>
                      <a:pt x="20757" y="0"/>
                    </a:lnTo>
                    <a:cubicBezTo>
                      <a:pt x="20757" y="0"/>
                      <a:pt x="31317" y="19748"/>
                      <a:pt x="35904" y="28681"/>
                    </a:cubicBezTo>
                    <a:cubicBezTo>
                      <a:pt x="56231" y="65351"/>
                      <a:pt x="50446" y="110794"/>
                      <a:pt x="21336" y="141451"/>
                    </a:cubicBezTo>
                    <a:cubicBezTo>
                      <a:pt x="19021" y="143872"/>
                      <a:pt x="15913" y="145110"/>
                      <a:pt x="12793" y="145110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70">
                <a:extLst>
                  <a:ext uri="{FF2B5EF4-FFF2-40B4-BE49-F238E27FC236}">
                    <a16:creationId xmlns:a16="http://schemas.microsoft.com/office/drawing/2014/main" xmlns="" id="{CAF90F28-DF60-4B21-A94D-4E06504E41FD}"/>
                  </a:ext>
                </a:extLst>
              </p:cNvPr>
              <p:cNvSpPr/>
              <p:nvPr/>
            </p:nvSpPr>
            <p:spPr>
              <a:xfrm>
                <a:off x="2029289" y="5010649"/>
                <a:ext cx="214313" cy="244316"/>
              </a:xfrm>
              <a:custGeom>
                <a:avLst/>
                <a:gdLst>
                  <a:gd name="connsiteX0" fmla="*/ 23204 w 214312"/>
                  <a:gd name="connsiteY0" fmla="*/ 7866 h 244316"/>
                  <a:gd name="connsiteX1" fmla="*/ 55892 w 214312"/>
                  <a:gd name="connsiteY1" fmla="*/ 76337 h 244316"/>
                  <a:gd name="connsiteX2" fmla="*/ 106338 w 214312"/>
                  <a:gd name="connsiteY2" fmla="*/ 133509 h 244316"/>
                  <a:gd name="connsiteX3" fmla="*/ 168622 w 214312"/>
                  <a:gd name="connsiteY3" fmla="*/ 179516 h 244316"/>
                  <a:gd name="connsiteX4" fmla="*/ 185168 w 214312"/>
                  <a:gd name="connsiteY4" fmla="*/ 190009 h 244316"/>
                  <a:gd name="connsiteX5" fmla="*/ 193644 w 214312"/>
                  <a:gd name="connsiteY5" fmla="*/ 195255 h 244316"/>
                  <a:gd name="connsiteX6" fmla="*/ 202253 w 214312"/>
                  <a:gd name="connsiteY6" fmla="*/ 201174 h 244316"/>
                  <a:gd name="connsiteX7" fmla="*/ 213956 w 214312"/>
                  <a:gd name="connsiteY7" fmla="*/ 220143 h 244316"/>
                  <a:gd name="connsiteX8" fmla="*/ 213956 w 214312"/>
                  <a:gd name="connsiteY8" fmla="*/ 242338 h 244316"/>
                  <a:gd name="connsiteX9" fmla="*/ 208603 w 214312"/>
                  <a:gd name="connsiteY9" fmla="*/ 245607 h 244316"/>
                  <a:gd name="connsiteX10" fmla="*/ 208441 w 214312"/>
                  <a:gd name="connsiteY10" fmla="*/ 245567 h 244316"/>
                  <a:gd name="connsiteX11" fmla="*/ 205212 w 214312"/>
                  <a:gd name="connsiteY11" fmla="*/ 240186 h 244316"/>
                  <a:gd name="connsiteX12" fmla="*/ 205212 w 214312"/>
                  <a:gd name="connsiteY12" fmla="*/ 240186 h 244316"/>
                  <a:gd name="connsiteX13" fmla="*/ 195122 w 214312"/>
                  <a:gd name="connsiteY13" fmla="*/ 210054 h 244316"/>
                  <a:gd name="connsiteX14" fmla="*/ 187454 w 214312"/>
                  <a:gd name="connsiteY14" fmla="*/ 205346 h 244316"/>
                  <a:gd name="connsiteX15" fmla="*/ 178845 w 214312"/>
                  <a:gd name="connsiteY15" fmla="*/ 200503 h 244316"/>
                  <a:gd name="connsiteX16" fmla="*/ 161491 w 214312"/>
                  <a:gd name="connsiteY16" fmla="*/ 189876 h 244316"/>
                  <a:gd name="connsiteX17" fmla="*/ 95305 w 214312"/>
                  <a:gd name="connsiteY17" fmla="*/ 145483 h 244316"/>
                  <a:gd name="connsiteX18" fmla="*/ 39076 w 214312"/>
                  <a:gd name="connsiteY18" fmla="*/ 87639 h 244316"/>
                  <a:gd name="connsiteX19" fmla="*/ 871 w 214312"/>
                  <a:gd name="connsiteY19" fmla="*/ 16207 h 244316"/>
                  <a:gd name="connsiteX20" fmla="*/ 7327 w 214312"/>
                  <a:gd name="connsiteY20" fmla="*/ 871 h 244316"/>
                  <a:gd name="connsiteX21" fmla="*/ 22664 w 214312"/>
                  <a:gd name="connsiteY21" fmla="*/ 7327 h 244316"/>
                  <a:gd name="connsiteX22" fmla="*/ 23204 w 214312"/>
                  <a:gd name="connsiteY22" fmla="*/ 7866 h 244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14312" h="244316">
                    <a:moveTo>
                      <a:pt x="23204" y="7866"/>
                    </a:moveTo>
                    <a:cubicBezTo>
                      <a:pt x="31342" y="31905"/>
                      <a:pt x="42319" y="54895"/>
                      <a:pt x="55892" y="76337"/>
                    </a:cubicBezTo>
                    <a:cubicBezTo>
                      <a:pt x="70017" y="97606"/>
                      <a:pt x="86993" y="116842"/>
                      <a:pt x="106338" y="133509"/>
                    </a:cubicBezTo>
                    <a:cubicBezTo>
                      <a:pt x="125992" y="150297"/>
                      <a:pt x="146803" y="165673"/>
                      <a:pt x="168622" y="179516"/>
                    </a:cubicBezTo>
                    <a:lnTo>
                      <a:pt x="185168" y="190009"/>
                    </a:lnTo>
                    <a:lnTo>
                      <a:pt x="193644" y="195255"/>
                    </a:lnTo>
                    <a:cubicBezTo>
                      <a:pt x="196644" y="197031"/>
                      <a:pt x="199523" y="199008"/>
                      <a:pt x="202253" y="201174"/>
                    </a:cubicBezTo>
                    <a:cubicBezTo>
                      <a:pt x="207944" y="206192"/>
                      <a:pt x="212020" y="212797"/>
                      <a:pt x="213956" y="220143"/>
                    </a:cubicBezTo>
                    <a:cubicBezTo>
                      <a:pt x="215973" y="227406"/>
                      <a:pt x="215973" y="235074"/>
                      <a:pt x="213956" y="242338"/>
                    </a:cubicBezTo>
                    <a:cubicBezTo>
                      <a:pt x="213377" y="244720"/>
                      <a:pt x="210983" y="246186"/>
                      <a:pt x="208603" y="245607"/>
                    </a:cubicBezTo>
                    <a:cubicBezTo>
                      <a:pt x="208548" y="245594"/>
                      <a:pt x="208495" y="245580"/>
                      <a:pt x="208441" y="245567"/>
                    </a:cubicBezTo>
                    <a:cubicBezTo>
                      <a:pt x="206154" y="244854"/>
                      <a:pt x="204769" y="242541"/>
                      <a:pt x="205212" y="240186"/>
                    </a:cubicBezTo>
                    <a:lnTo>
                      <a:pt x="205212" y="240186"/>
                    </a:lnTo>
                    <a:cubicBezTo>
                      <a:pt x="207915" y="229035"/>
                      <a:pt x="203988" y="217331"/>
                      <a:pt x="195122" y="210054"/>
                    </a:cubicBezTo>
                    <a:cubicBezTo>
                      <a:pt x="192701" y="208278"/>
                      <a:pt x="190132" y="206705"/>
                      <a:pt x="187454" y="205346"/>
                    </a:cubicBezTo>
                    <a:lnTo>
                      <a:pt x="178845" y="200503"/>
                    </a:lnTo>
                    <a:lnTo>
                      <a:pt x="161491" y="189876"/>
                    </a:lnTo>
                    <a:cubicBezTo>
                      <a:pt x="138379" y="176706"/>
                      <a:pt x="116251" y="161868"/>
                      <a:pt x="95305" y="145483"/>
                    </a:cubicBezTo>
                    <a:cubicBezTo>
                      <a:pt x="74091" y="128775"/>
                      <a:pt x="55178" y="109323"/>
                      <a:pt x="39076" y="87639"/>
                    </a:cubicBezTo>
                    <a:cubicBezTo>
                      <a:pt x="23619" y="65389"/>
                      <a:pt x="10799" y="41417"/>
                      <a:pt x="871" y="16207"/>
                    </a:cubicBezTo>
                    <a:cubicBezTo>
                      <a:pt x="-1578" y="10193"/>
                      <a:pt x="1315" y="3320"/>
                      <a:pt x="7327" y="871"/>
                    </a:cubicBezTo>
                    <a:cubicBezTo>
                      <a:pt x="13341" y="-1578"/>
                      <a:pt x="20215" y="1315"/>
                      <a:pt x="22664" y="7327"/>
                    </a:cubicBezTo>
                    <a:lnTo>
                      <a:pt x="23204" y="7866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71">
                <a:extLst>
                  <a:ext uri="{FF2B5EF4-FFF2-40B4-BE49-F238E27FC236}">
                    <a16:creationId xmlns:a16="http://schemas.microsoft.com/office/drawing/2014/main" xmlns="" id="{6A06D247-D46E-461B-A652-178EBC3FA838}"/>
                  </a:ext>
                </a:extLst>
              </p:cNvPr>
              <p:cNvSpPr/>
              <p:nvPr/>
            </p:nvSpPr>
            <p:spPr>
              <a:xfrm>
                <a:off x="1838164" y="5010648"/>
                <a:ext cx="214313" cy="244316"/>
              </a:xfrm>
              <a:custGeom>
                <a:avLst/>
                <a:gdLst>
                  <a:gd name="connsiteX0" fmla="*/ 214328 w 214312"/>
                  <a:gd name="connsiteY0" fmla="*/ 16206 h 244316"/>
                  <a:gd name="connsiteX1" fmla="*/ 176393 w 214312"/>
                  <a:gd name="connsiteY1" fmla="*/ 87638 h 244316"/>
                  <a:gd name="connsiteX2" fmla="*/ 120566 w 214312"/>
                  <a:gd name="connsiteY2" fmla="*/ 146156 h 244316"/>
                  <a:gd name="connsiteX3" fmla="*/ 54515 w 214312"/>
                  <a:gd name="connsiteY3" fmla="*/ 190683 h 244316"/>
                  <a:gd name="connsiteX4" fmla="*/ 37430 w 214312"/>
                  <a:gd name="connsiteY4" fmla="*/ 200502 h 244316"/>
                  <a:gd name="connsiteX5" fmla="*/ 28821 w 214312"/>
                  <a:gd name="connsiteY5" fmla="*/ 205210 h 244316"/>
                  <a:gd name="connsiteX6" fmla="*/ 21153 w 214312"/>
                  <a:gd name="connsiteY6" fmla="*/ 209918 h 244316"/>
                  <a:gd name="connsiteX7" fmla="*/ 11333 w 214312"/>
                  <a:gd name="connsiteY7" fmla="*/ 239647 h 244316"/>
                  <a:gd name="connsiteX8" fmla="*/ 11333 w 214312"/>
                  <a:gd name="connsiteY8" fmla="*/ 239647 h 244316"/>
                  <a:gd name="connsiteX9" fmla="*/ 7432 w 214312"/>
                  <a:gd name="connsiteY9" fmla="*/ 245567 h 244316"/>
                  <a:gd name="connsiteX10" fmla="*/ 1513 w 214312"/>
                  <a:gd name="connsiteY10" fmla="*/ 242069 h 244316"/>
                  <a:gd name="connsiteX11" fmla="*/ 1513 w 214312"/>
                  <a:gd name="connsiteY11" fmla="*/ 219738 h 244316"/>
                  <a:gd name="connsiteX12" fmla="*/ 13620 w 214312"/>
                  <a:gd name="connsiteY12" fmla="*/ 200501 h 244316"/>
                  <a:gd name="connsiteX13" fmla="*/ 22364 w 214312"/>
                  <a:gd name="connsiteY13" fmla="*/ 194447 h 244316"/>
                  <a:gd name="connsiteX14" fmla="*/ 30705 w 214312"/>
                  <a:gd name="connsiteY14" fmla="*/ 189335 h 244316"/>
                  <a:gd name="connsiteX15" fmla="*/ 47252 w 214312"/>
                  <a:gd name="connsiteY15" fmla="*/ 178843 h 244316"/>
                  <a:gd name="connsiteX16" fmla="*/ 109132 w 214312"/>
                  <a:gd name="connsiteY16" fmla="*/ 133240 h 244316"/>
                  <a:gd name="connsiteX17" fmla="*/ 159174 w 214312"/>
                  <a:gd name="connsiteY17" fmla="*/ 76337 h 244316"/>
                  <a:gd name="connsiteX18" fmla="*/ 191863 w 214312"/>
                  <a:gd name="connsiteY18" fmla="*/ 7865 h 244316"/>
                  <a:gd name="connsiteX19" fmla="*/ 206862 w 214312"/>
                  <a:gd name="connsiteY19" fmla="*/ 669 h 244316"/>
                  <a:gd name="connsiteX20" fmla="*/ 214058 w 214312"/>
                  <a:gd name="connsiteY20" fmla="*/ 15668 h 244316"/>
                  <a:gd name="connsiteX21" fmla="*/ 214328 w 214312"/>
                  <a:gd name="connsiteY21" fmla="*/ 16206 h 244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4312" h="244316">
                    <a:moveTo>
                      <a:pt x="214328" y="16206"/>
                    </a:moveTo>
                    <a:cubicBezTo>
                      <a:pt x="204494" y="41402"/>
                      <a:pt x="191755" y="65374"/>
                      <a:pt x="176393" y="87638"/>
                    </a:cubicBezTo>
                    <a:cubicBezTo>
                      <a:pt x="160520" y="109580"/>
                      <a:pt x="141741" y="129273"/>
                      <a:pt x="120566" y="146156"/>
                    </a:cubicBezTo>
                    <a:cubicBezTo>
                      <a:pt x="99608" y="162513"/>
                      <a:pt x="77533" y="177392"/>
                      <a:pt x="54515" y="190683"/>
                    </a:cubicBezTo>
                    <a:lnTo>
                      <a:pt x="37430" y="200502"/>
                    </a:lnTo>
                    <a:lnTo>
                      <a:pt x="28821" y="205210"/>
                    </a:lnTo>
                    <a:cubicBezTo>
                      <a:pt x="26143" y="206569"/>
                      <a:pt x="23574" y="208143"/>
                      <a:pt x="21153" y="209918"/>
                    </a:cubicBezTo>
                    <a:cubicBezTo>
                      <a:pt x="12449" y="217129"/>
                      <a:pt x="8628" y="228670"/>
                      <a:pt x="11333" y="239647"/>
                    </a:cubicBezTo>
                    <a:lnTo>
                      <a:pt x="11333" y="239647"/>
                    </a:lnTo>
                    <a:cubicBezTo>
                      <a:pt x="11830" y="242352"/>
                      <a:pt x="10108" y="244961"/>
                      <a:pt x="7432" y="245567"/>
                    </a:cubicBezTo>
                    <a:cubicBezTo>
                      <a:pt x="4836" y="246172"/>
                      <a:pt x="2240" y="244625"/>
                      <a:pt x="1513" y="242069"/>
                    </a:cubicBezTo>
                    <a:cubicBezTo>
                      <a:pt x="-504" y="234764"/>
                      <a:pt x="-504" y="227043"/>
                      <a:pt x="1513" y="219738"/>
                    </a:cubicBezTo>
                    <a:cubicBezTo>
                      <a:pt x="3436" y="212218"/>
                      <a:pt x="7661" y="205479"/>
                      <a:pt x="13620" y="200501"/>
                    </a:cubicBezTo>
                    <a:cubicBezTo>
                      <a:pt x="16338" y="198214"/>
                      <a:pt x="19270" y="196183"/>
                      <a:pt x="22364" y="194447"/>
                    </a:cubicBezTo>
                    <a:lnTo>
                      <a:pt x="30705" y="189335"/>
                    </a:lnTo>
                    <a:lnTo>
                      <a:pt x="47252" y="178843"/>
                    </a:lnTo>
                    <a:cubicBezTo>
                      <a:pt x="68937" y="165135"/>
                      <a:pt x="89613" y="149893"/>
                      <a:pt x="109132" y="133240"/>
                    </a:cubicBezTo>
                    <a:cubicBezTo>
                      <a:pt x="128275" y="116599"/>
                      <a:pt x="145117" y="97457"/>
                      <a:pt x="159174" y="76337"/>
                    </a:cubicBezTo>
                    <a:cubicBezTo>
                      <a:pt x="172667" y="54840"/>
                      <a:pt x="183630" y="31864"/>
                      <a:pt x="191863" y="7865"/>
                    </a:cubicBezTo>
                    <a:cubicBezTo>
                      <a:pt x="194014" y="1732"/>
                      <a:pt x="200728" y="-1484"/>
                      <a:pt x="206862" y="669"/>
                    </a:cubicBezTo>
                    <a:cubicBezTo>
                      <a:pt x="212995" y="2821"/>
                      <a:pt x="216211" y="9534"/>
                      <a:pt x="214058" y="15668"/>
                    </a:cubicBezTo>
                    <a:lnTo>
                      <a:pt x="214328" y="16206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72">
                <a:extLst>
                  <a:ext uri="{FF2B5EF4-FFF2-40B4-BE49-F238E27FC236}">
                    <a16:creationId xmlns:a16="http://schemas.microsoft.com/office/drawing/2014/main" xmlns="" id="{6206A554-5CA0-42BD-8700-7F67F49DD975}"/>
                  </a:ext>
                </a:extLst>
              </p:cNvPr>
              <p:cNvSpPr/>
              <p:nvPr/>
            </p:nvSpPr>
            <p:spPr>
              <a:xfrm>
                <a:off x="2029560" y="5010513"/>
                <a:ext cx="187166" cy="151448"/>
              </a:xfrm>
              <a:custGeom>
                <a:avLst/>
                <a:gdLst>
                  <a:gd name="connsiteX0" fmla="*/ 22932 w 187166"/>
                  <a:gd name="connsiteY0" fmla="*/ 8002 h 151447"/>
                  <a:gd name="connsiteX1" fmla="*/ 46474 w 187166"/>
                  <a:gd name="connsiteY1" fmla="*/ 55488 h 151447"/>
                  <a:gd name="connsiteX2" fmla="*/ 84006 w 187166"/>
                  <a:gd name="connsiteY2" fmla="*/ 91944 h 151447"/>
                  <a:gd name="connsiteX3" fmla="*/ 184360 w 187166"/>
                  <a:gd name="connsiteY3" fmla="*/ 139295 h 151447"/>
                  <a:gd name="connsiteX4" fmla="*/ 187723 w 187166"/>
                  <a:gd name="connsiteY4" fmla="*/ 148308 h 151447"/>
                  <a:gd name="connsiteX5" fmla="*/ 179247 w 187166"/>
                  <a:gd name="connsiteY5" fmla="*/ 151805 h 151447"/>
                  <a:gd name="connsiteX6" fmla="*/ 126515 w 187166"/>
                  <a:gd name="connsiteY6" fmla="*/ 131896 h 151447"/>
                  <a:gd name="connsiteX7" fmla="*/ 74051 w 187166"/>
                  <a:gd name="connsiteY7" fmla="*/ 107547 h 151447"/>
                  <a:gd name="connsiteX8" fmla="*/ 29524 w 187166"/>
                  <a:gd name="connsiteY8" fmla="*/ 67998 h 151447"/>
                  <a:gd name="connsiteX9" fmla="*/ 871 w 187166"/>
                  <a:gd name="connsiteY9" fmla="*/ 16207 h 151447"/>
                  <a:gd name="connsiteX10" fmla="*/ 7327 w 187166"/>
                  <a:gd name="connsiteY10" fmla="*/ 871 h 151447"/>
                  <a:gd name="connsiteX11" fmla="*/ 22664 w 187166"/>
                  <a:gd name="connsiteY11" fmla="*/ 7327 h 151447"/>
                  <a:gd name="connsiteX12" fmla="*/ 22664 w 187166"/>
                  <a:gd name="connsiteY12" fmla="*/ 7327 h 151447"/>
                  <a:gd name="connsiteX13" fmla="*/ 22664 w 187166"/>
                  <a:gd name="connsiteY13" fmla="*/ 7327 h 151447"/>
                  <a:gd name="connsiteX14" fmla="*/ 22932 w 187166"/>
                  <a:gd name="connsiteY14" fmla="*/ 8002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166" h="151447">
                    <a:moveTo>
                      <a:pt x="22932" y="8002"/>
                    </a:moveTo>
                    <a:cubicBezTo>
                      <a:pt x="28581" y="24831"/>
                      <a:pt x="36505" y="40799"/>
                      <a:pt x="46474" y="55488"/>
                    </a:cubicBezTo>
                    <a:cubicBezTo>
                      <a:pt x="56442" y="70002"/>
                      <a:pt x="69195" y="82405"/>
                      <a:pt x="84006" y="91944"/>
                    </a:cubicBezTo>
                    <a:cubicBezTo>
                      <a:pt x="116197" y="110266"/>
                      <a:pt x="149747" y="126099"/>
                      <a:pt x="184360" y="139295"/>
                    </a:cubicBezTo>
                    <a:cubicBezTo>
                      <a:pt x="187696" y="140923"/>
                      <a:pt x="189176" y="144892"/>
                      <a:pt x="187723" y="148308"/>
                    </a:cubicBezTo>
                    <a:cubicBezTo>
                      <a:pt x="186257" y="151523"/>
                      <a:pt x="182556" y="153043"/>
                      <a:pt x="179247" y="151805"/>
                    </a:cubicBezTo>
                    <a:lnTo>
                      <a:pt x="126515" y="131896"/>
                    </a:lnTo>
                    <a:cubicBezTo>
                      <a:pt x="108354" y="125331"/>
                      <a:pt x="90799" y="117180"/>
                      <a:pt x="74051" y="107547"/>
                    </a:cubicBezTo>
                    <a:cubicBezTo>
                      <a:pt x="56752" y="97417"/>
                      <a:pt x="41632" y="83978"/>
                      <a:pt x="29524" y="67998"/>
                    </a:cubicBezTo>
                    <a:cubicBezTo>
                      <a:pt x="17727" y="52084"/>
                      <a:pt x="8082" y="34664"/>
                      <a:pt x="871" y="16207"/>
                    </a:cubicBezTo>
                    <a:cubicBezTo>
                      <a:pt x="-1578" y="10193"/>
                      <a:pt x="1315" y="3320"/>
                      <a:pt x="7327" y="871"/>
                    </a:cubicBezTo>
                    <a:cubicBezTo>
                      <a:pt x="13341" y="-1578"/>
                      <a:pt x="20215" y="1315"/>
                      <a:pt x="22664" y="7327"/>
                    </a:cubicBezTo>
                    <a:lnTo>
                      <a:pt x="22664" y="7327"/>
                    </a:lnTo>
                    <a:lnTo>
                      <a:pt x="22664" y="7327"/>
                    </a:lnTo>
                    <a:lnTo>
                      <a:pt x="22932" y="8002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73">
                <a:extLst>
                  <a:ext uri="{FF2B5EF4-FFF2-40B4-BE49-F238E27FC236}">
                    <a16:creationId xmlns:a16="http://schemas.microsoft.com/office/drawing/2014/main" xmlns="" id="{666B17C7-E4B8-461D-ABDC-9E424A52D185}"/>
                  </a:ext>
                </a:extLst>
              </p:cNvPr>
              <p:cNvSpPr/>
              <p:nvPr/>
            </p:nvSpPr>
            <p:spPr>
              <a:xfrm>
                <a:off x="2029624" y="4978733"/>
                <a:ext cx="22860" cy="58579"/>
              </a:xfrm>
              <a:custGeom>
                <a:avLst/>
                <a:gdLst>
                  <a:gd name="connsiteX0" fmla="*/ 0 w 22860"/>
                  <a:gd name="connsiteY0" fmla="*/ 43952 h 58578"/>
                  <a:gd name="connsiteX1" fmla="*/ 7264 w 22860"/>
                  <a:gd name="connsiteY1" fmla="*/ 3596 h 58578"/>
                  <a:gd name="connsiteX2" fmla="*/ 12913 w 22860"/>
                  <a:gd name="connsiteY2" fmla="*/ 98 h 58578"/>
                  <a:gd name="connsiteX3" fmla="*/ 16411 w 22860"/>
                  <a:gd name="connsiteY3" fmla="*/ 3596 h 58578"/>
                  <a:gd name="connsiteX4" fmla="*/ 23540 w 22860"/>
                  <a:gd name="connsiteY4" fmla="*/ 43952 h 58578"/>
                  <a:gd name="connsiteX5" fmla="*/ 15146 w 22860"/>
                  <a:gd name="connsiteY5" fmla="*/ 58211 h 58578"/>
                  <a:gd name="connsiteX6" fmla="*/ 887 w 22860"/>
                  <a:gd name="connsiteY6" fmla="*/ 49817 h 58578"/>
                  <a:gd name="connsiteX7" fmla="*/ 537 w 22860"/>
                  <a:gd name="connsiteY7" fmla="*/ 47718 h 58578"/>
                  <a:gd name="connsiteX8" fmla="*/ 0 w 22860"/>
                  <a:gd name="connsiteY8" fmla="*/ 43952 h 58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860" h="58578">
                    <a:moveTo>
                      <a:pt x="0" y="43952"/>
                    </a:moveTo>
                    <a:lnTo>
                      <a:pt x="7264" y="3596"/>
                    </a:lnTo>
                    <a:cubicBezTo>
                      <a:pt x="7922" y="1121"/>
                      <a:pt x="10398" y="-413"/>
                      <a:pt x="12913" y="98"/>
                    </a:cubicBezTo>
                    <a:cubicBezTo>
                      <a:pt x="14649" y="501"/>
                      <a:pt x="16008" y="1860"/>
                      <a:pt x="16411" y="3596"/>
                    </a:cubicBezTo>
                    <a:lnTo>
                      <a:pt x="23540" y="43952"/>
                    </a:lnTo>
                    <a:cubicBezTo>
                      <a:pt x="25155" y="50207"/>
                      <a:pt x="21401" y="56597"/>
                      <a:pt x="15146" y="58211"/>
                    </a:cubicBezTo>
                    <a:cubicBezTo>
                      <a:pt x="8891" y="59826"/>
                      <a:pt x="2502" y="56072"/>
                      <a:pt x="887" y="49817"/>
                    </a:cubicBezTo>
                    <a:cubicBezTo>
                      <a:pt x="713" y="49131"/>
                      <a:pt x="592" y="48419"/>
                      <a:pt x="537" y="47718"/>
                    </a:cubicBezTo>
                    <a:cubicBezTo>
                      <a:pt x="281" y="46467"/>
                      <a:pt x="107" y="45217"/>
                      <a:pt x="0" y="43952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74">
                <a:extLst>
                  <a:ext uri="{FF2B5EF4-FFF2-40B4-BE49-F238E27FC236}">
                    <a16:creationId xmlns:a16="http://schemas.microsoft.com/office/drawing/2014/main" xmlns="" id="{FEF67109-2838-4B97-B9FD-18C9489AEEC1}"/>
                  </a:ext>
                </a:extLst>
              </p:cNvPr>
              <p:cNvSpPr/>
              <p:nvPr/>
            </p:nvSpPr>
            <p:spPr>
              <a:xfrm>
                <a:off x="2140918" y="5428016"/>
                <a:ext cx="31433" cy="62865"/>
              </a:xfrm>
              <a:custGeom>
                <a:avLst/>
                <a:gdLst>
                  <a:gd name="connsiteX0" fmla="*/ 25245 w 31432"/>
                  <a:gd name="connsiteY0" fmla="*/ 22720 h 62865"/>
                  <a:gd name="connsiteX1" fmla="*/ 23362 w 31432"/>
                  <a:gd name="connsiteY1" fmla="*/ 22720 h 62865"/>
                  <a:gd name="connsiteX2" fmla="*/ 20806 w 31432"/>
                  <a:gd name="connsiteY2" fmla="*/ 25008 h 62865"/>
                  <a:gd name="connsiteX3" fmla="*/ 17577 w 31432"/>
                  <a:gd name="connsiteY3" fmla="*/ 33079 h 62865"/>
                  <a:gd name="connsiteX4" fmla="*/ 20672 w 31432"/>
                  <a:gd name="connsiteY4" fmla="*/ 56217 h 62865"/>
                  <a:gd name="connsiteX5" fmla="*/ 20672 w 31432"/>
                  <a:gd name="connsiteY5" fmla="*/ 56217 h 62865"/>
                  <a:gd name="connsiteX6" fmla="*/ 17040 w 31432"/>
                  <a:gd name="connsiteY6" fmla="*/ 63078 h 62865"/>
                  <a:gd name="connsiteX7" fmla="*/ 10718 w 31432"/>
                  <a:gd name="connsiteY7" fmla="*/ 60657 h 62865"/>
                  <a:gd name="connsiteX8" fmla="*/ 225 w 31432"/>
                  <a:gd name="connsiteY8" fmla="*/ 33752 h 62865"/>
                  <a:gd name="connsiteX9" fmla="*/ 2513 w 31432"/>
                  <a:gd name="connsiteY9" fmla="*/ 16130 h 62865"/>
                  <a:gd name="connsiteX10" fmla="*/ 7759 w 31432"/>
                  <a:gd name="connsiteY10" fmla="*/ 7789 h 62865"/>
                  <a:gd name="connsiteX11" fmla="*/ 16637 w 31432"/>
                  <a:gd name="connsiteY11" fmla="*/ 793 h 62865"/>
                  <a:gd name="connsiteX12" fmla="*/ 31838 w 31432"/>
                  <a:gd name="connsiteY12" fmla="*/ 7520 h 62865"/>
                  <a:gd name="connsiteX13" fmla="*/ 25111 w 31432"/>
                  <a:gd name="connsiteY13" fmla="*/ 22720 h 62865"/>
                  <a:gd name="connsiteX14" fmla="*/ 25111 w 31432"/>
                  <a:gd name="connsiteY14" fmla="*/ 22720 h 62865"/>
                  <a:gd name="connsiteX15" fmla="*/ 25111 w 31432"/>
                  <a:gd name="connsiteY15" fmla="*/ 22720 h 62865"/>
                  <a:gd name="connsiteX16" fmla="*/ 25245 w 31432"/>
                  <a:gd name="connsiteY16" fmla="*/ 22720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1432" h="62865">
                    <a:moveTo>
                      <a:pt x="25245" y="22720"/>
                    </a:moveTo>
                    <a:lnTo>
                      <a:pt x="23362" y="22720"/>
                    </a:lnTo>
                    <a:cubicBezTo>
                      <a:pt x="22394" y="23339"/>
                      <a:pt x="21519" y="24106"/>
                      <a:pt x="20806" y="25008"/>
                    </a:cubicBezTo>
                    <a:cubicBezTo>
                      <a:pt x="19018" y="27362"/>
                      <a:pt x="17900" y="30147"/>
                      <a:pt x="17577" y="33079"/>
                    </a:cubicBezTo>
                    <a:cubicBezTo>
                      <a:pt x="16904" y="40921"/>
                      <a:pt x="17955" y="48818"/>
                      <a:pt x="20672" y="56217"/>
                    </a:cubicBezTo>
                    <a:lnTo>
                      <a:pt x="20672" y="56217"/>
                    </a:lnTo>
                    <a:cubicBezTo>
                      <a:pt x="21546" y="59109"/>
                      <a:pt x="19932" y="62177"/>
                      <a:pt x="17040" y="63078"/>
                    </a:cubicBezTo>
                    <a:cubicBezTo>
                      <a:pt x="14618" y="63858"/>
                      <a:pt x="11995" y="62850"/>
                      <a:pt x="10718" y="60657"/>
                    </a:cubicBezTo>
                    <a:cubicBezTo>
                      <a:pt x="5350" y="52531"/>
                      <a:pt x="1773" y="43357"/>
                      <a:pt x="225" y="33752"/>
                    </a:cubicBezTo>
                    <a:cubicBezTo>
                      <a:pt x="-433" y="27780"/>
                      <a:pt x="360" y="21739"/>
                      <a:pt x="2513" y="16130"/>
                    </a:cubicBezTo>
                    <a:cubicBezTo>
                      <a:pt x="3871" y="13129"/>
                      <a:pt x="5633" y="10319"/>
                      <a:pt x="7759" y="7789"/>
                    </a:cubicBezTo>
                    <a:cubicBezTo>
                      <a:pt x="10141" y="4815"/>
                      <a:pt x="13180" y="2421"/>
                      <a:pt x="16637" y="793"/>
                    </a:cubicBezTo>
                    <a:cubicBezTo>
                      <a:pt x="22691" y="-1547"/>
                      <a:pt x="29497" y="1466"/>
                      <a:pt x="31838" y="7520"/>
                    </a:cubicBezTo>
                    <a:cubicBezTo>
                      <a:pt x="34178" y="13574"/>
                      <a:pt x="31165" y="20380"/>
                      <a:pt x="25111" y="22720"/>
                    </a:cubicBezTo>
                    <a:lnTo>
                      <a:pt x="25111" y="22720"/>
                    </a:lnTo>
                    <a:lnTo>
                      <a:pt x="25111" y="22720"/>
                    </a:lnTo>
                    <a:lnTo>
                      <a:pt x="25245" y="22720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75">
                <a:extLst>
                  <a:ext uri="{FF2B5EF4-FFF2-40B4-BE49-F238E27FC236}">
                    <a16:creationId xmlns:a16="http://schemas.microsoft.com/office/drawing/2014/main" xmlns="" id="{A196A838-0308-42D9-9961-47BF4E195C8F}"/>
                  </a:ext>
                </a:extLst>
              </p:cNvPr>
              <p:cNvSpPr/>
              <p:nvPr/>
            </p:nvSpPr>
            <p:spPr>
              <a:xfrm>
                <a:off x="1911786" y="5428494"/>
                <a:ext cx="28575" cy="62865"/>
              </a:xfrm>
              <a:custGeom>
                <a:avLst/>
                <a:gdLst>
                  <a:gd name="connsiteX0" fmla="*/ 19099 w 28575"/>
                  <a:gd name="connsiteY0" fmla="*/ 2198 h 62865"/>
                  <a:gd name="connsiteX1" fmla="*/ 25018 w 28575"/>
                  <a:gd name="connsiteY1" fmla="*/ 10673 h 62865"/>
                  <a:gd name="connsiteX2" fmla="*/ 27708 w 28575"/>
                  <a:gd name="connsiteY2" fmla="*/ 18610 h 62865"/>
                  <a:gd name="connsiteX3" fmla="*/ 28516 w 28575"/>
                  <a:gd name="connsiteY3" fmla="*/ 34215 h 62865"/>
                  <a:gd name="connsiteX4" fmla="*/ 19503 w 28575"/>
                  <a:gd name="connsiteY4" fmla="*/ 61120 h 62865"/>
                  <a:gd name="connsiteX5" fmla="*/ 12252 w 28575"/>
                  <a:gd name="connsiteY5" fmla="*/ 63407 h 62865"/>
                  <a:gd name="connsiteX6" fmla="*/ 12239 w 28575"/>
                  <a:gd name="connsiteY6" fmla="*/ 63407 h 62865"/>
                  <a:gd name="connsiteX7" fmla="*/ 12239 w 28575"/>
                  <a:gd name="connsiteY7" fmla="*/ 63407 h 62865"/>
                  <a:gd name="connsiteX8" fmla="*/ 9549 w 28575"/>
                  <a:gd name="connsiteY8" fmla="*/ 57219 h 62865"/>
                  <a:gd name="connsiteX9" fmla="*/ 9549 w 28575"/>
                  <a:gd name="connsiteY9" fmla="*/ 57219 h 62865"/>
                  <a:gd name="connsiteX10" fmla="*/ 11432 w 28575"/>
                  <a:gd name="connsiteY10" fmla="*/ 35024 h 62865"/>
                  <a:gd name="connsiteX11" fmla="*/ 8607 w 28575"/>
                  <a:gd name="connsiteY11" fmla="*/ 25877 h 62865"/>
                  <a:gd name="connsiteX12" fmla="*/ 6186 w 28575"/>
                  <a:gd name="connsiteY12" fmla="*/ 22513 h 62865"/>
                  <a:gd name="connsiteX13" fmla="*/ 4303 w 28575"/>
                  <a:gd name="connsiteY13" fmla="*/ 21168 h 62865"/>
                  <a:gd name="connsiteX14" fmla="*/ 2567 w 28575"/>
                  <a:gd name="connsiteY14" fmla="*/ 4904 h 62865"/>
                  <a:gd name="connsiteX15" fmla="*/ 2688 w 28575"/>
                  <a:gd name="connsiteY15" fmla="*/ 4755 h 62865"/>
                  <a:gd name="connsiteX16" fmla="*/ 2688 w 28575"/>
                  <a:gd name="connsiteY16" fmla="*/ 4755 h 62865"/>
                  <a:gd name="connsiteX17" fmla="*/ 18830 w 28575"/>
                  <a:gd name="connsiteY17" fmla="*/ 2199 h 62865"/>
                  <a:gd name="connsiteX18" fmla="*/ 19099 w 28575"/>
                  <a:gd name="connsiteY18" fmla="*/ 2199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" h="62865">
                    <a:moveTo>
                      <a:pt x="19099" y="2198"/>
                    </a:moveTo>
                    <a:cubicBezTo>
                      <a:pt x="21640" y="4580"/>
                      <a:pt x="23659" y="7457"/>
                      <a:pt x="25018" y="10673"/>
                    </a:cubicBezTo>
                    <a:cubicBezTo>
                      <a:pt x="26175" y="13229"/>
                      <a:pt x="27077" y="15880"/>
                      <a:pt x="27708" y="18610"/>
                    </a:cubicBezTo>
                    <a:cubicBezTo>
                      <a:pt x="28919" y="23722"/>
                      <a:pt x="29189" y="29009"/>
                      <a:pt x="28516" y="34215"/>
                    </a:cubicBezTo>
                    <a:cubicBezTo>
                      <a:pt x="27373" y="43699"/>
                      <a:pt x="24305" y="52860"/>
                      <a:pt x="19503" y="61120"/>
                    </a:cubicBezTo>
                    <a:cubicBezTo>
                      <a:pt x="18131" y="63756"/>
                      <a:pt x="14890" y="64779"/>
                      <a:pt x="12252" y="63407"/>
                    </a:cubicBezTo>
                    <a:cubicBezTo>
                      <a:pt x="12252" y="63407"/>
                      <a:pt x="12252" y="63407"/>
                      <a:pt x="12239" y="63407"/>
                    </a:cubicBezTo>
                    <a:lnTo>
                      <a:pt x="12239" y="63407"/>
                    </a:lnTo>
                    <a:cubicBezTo>
                      <a:pt x="10006" y="62237"/>
                      <a:pt x="8876" y="59654"/>
                      <a:pt x="9549" y="57219"/>
                    </a:cubicBezTo>
                    <a:lnTo>
                      <a:pt x="9549" y="57219"/>
                    </a:lnTo>
                    <a:cubicBezTo>
                      <a:pt x="11581" y="50008"/>
                      <a:pt x="12226" y="42476"/>
                      <a:pt x="11432" y="35024"/>
                    </a:cubicBezTo>
                    <a:cubicBezTo>
                      <a:pt x="11029" y="31836"/>
                      <a:pt x="10073" y="28741"/>
                      <a:pt x="8607" y="25877"/>
                    </a:cubicBezTo>
                    <a:lnTo>
                      <a:pt x="6186" y="22513"/>
                    </a:lnTo>
                    <a:cubicBezTo>
                      <a:pt x="6186" y="22513"/>
                      <a:pt x="3898" y="20496"/>
                      <a:pt x="4303" y="21168"/>
                    </a:cubicBezTo>
                    <a:cubicBezTo>
                      <a:pt x="-675" y="17158"/>
                      <a:pt x="-1441" y="9868"/>
                      <a:pt x="2567" y="4904"/>
                    </a:cubicBezTo>
                    <a:cubicBezTo>
                      <a:pt x="2607" y="4850"/>
                      <a:pt x="2648" y="4810"/>
                      <a:pt x="2688" y="4755"/>
                    </a:cubicBezTo>
                    <a:lnTo>
                      <a:pt x="2688" y="4755"/>
                    </a:lnTo>
                    <a:cubicBezTo>
                      <a:pt x="6441" y="-397"/>
                      <a:pt x="13665" y="-1540"/>
                      <a:pt x="18830" y="2199"/>
                    </a:cubicBezTo>
                    <a:lnTo>
                      <a:pt x="19099" y="2199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76">
                <a:extLst>
                  <a:ext uri="{FF2B5EF4-FFF2-40B4-BE49-F238E27FC236}">
                    <a16:creationId xmlns:a16="http://schemas.microsoft.com/office/drawing/2014/main" xmlns="" id="{5BBF5343-11BF-4E7B-9327-1E951583E96A}"/>
                  </a:ext>
                </a:extLst>
              </p:cNvPr>
              <p:cNvSpPr/>
              <p:nvPr/>
            </p:nvSpPr>
            <p:spPr>
              <a:xfrm>
                <a:off x="1839677" y="5319173"/>
                <a:ext cx="65723" cy="75724"/>
              </a:xfrm>
              <a:custGeom>
                <a:avLst/>
                <a:gdLst>
                  <a:gd name="connsiteX0" fmla="*/ 64302 w 65722"/>
                  <a:gd name="connsiteY0" fmla="*/ 29327 h 75723"/>
                  <a:gd name="connsiteX1" fmla="*/ 61881 w 65722"/>
                  <a:gd name="connsiteY1" fmla="*/ 30268 h 75723"/>
                  <a:gd name="connsiteX2" fmla="*/ 48429 w 65722"/>
                  <a:gd name="connsiteY2" fmla="*/ 48025 h 75723"/>
                  <a:gd name="connsiteX3" fmla="*/ 45873 w 65722"/>
                  <a:gd name="connsiteY3" fmla="*/ 40356 h 75723"/>
                  <a:gd name="connsiteX4" fmla="*/ 17085 w 65722"/>
                  <a:gd name="connsiteY4" fmla="*/ 0 h 75723"/>
                  <a:gd name="connsiteX5" fmla="*/ 0 w 65722"/>
                  <a:gd name="connsiteY5" fmla="*/ 18968 h 75723"/>
                  <a:gd name="connsiteX6" fmla="*/ 24752 w 65722"/>
                  <a:gd name="connsiteY6" fmla="*/ 43720 h 75723"/>
                  <a:gd name="connsiteX7" fmla="*/ 45871 w 65722"/>
                  <a:gd name="connsiteY7" fmla="*/ 74525 h 75723"/>
                  <a:gd name="connsiteX8" fmla="*/ 50095 w 65722"/>
                  <a:gd name="connsiteY8" fmla="*/ 75695 h 75723"/>
                  <a:gd name="connsiteX9" fmla="*/ 51655 w 65722"/>
                  <a:gd name="connsiteY9" fmla="*/ 72911 h 75723"/>
                  <a:gd name="connsiteX10" fmla="*/ 51655 w 65722"/>
                  <a:gd name="connsiteY10" fmla="*/ 65377 h 75723"/>
                  <a:gd name="connsiteX11" fmla="*/ 66048 w 65722"/>
                  <a:gd name="connsiteY11" fmla="*/ 31208 h 75723"/>
                  <a:gd name="connsiteX12" fmla="*/ 64302 w 65722"/>
                  <a:gd name="connsiteY12" fmla="*/ 29327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5722" h="75723">
                    <a:moveTo>
                      <a:pt x="64302" y="29327"/>
                    </a:moveTo>
                    <a:cubicBezTo>
                      <a:pt x="63374" y="29058"/>
                      <a:pt x="62392" y="29448"/>
                      <a:pt x="61881" y="30268"/>
                    </a:cubicBezTo>
                    <a:cubicBezTo>
                      <a:pt x="58302" y="36819"/>
                      <a:pt x="53770" y="42805"/>
                      <a:pt x="48429" y="48025"/>
                    </a:cubicBezTo>
                    <a:cubicBezTo>
                      <a:pt x="47756" y="45469"/>
                      <a:pt x="46814" y="42913"/>
                      <a:pt x="45873" y="40356"/>
                    </a:cubicBezTo>
                    <a:cubicBezTo>
                      <a:pt x="38999" y="25156"/>
                      <a:pt x="29219" y="11447"/>
                      <a:pt x="17085" y="0"/>
                    </a:cubicBezTo>
                    <a:lnTo>
                      <a:pt x="0" y="18968"/>
                    </a:lnTo>
                    <a:cubicBezTo>
                      <a:pt x="9161" y="26246"/>
                      <a:pt x="17475" y="34559"/>
                      <a:pt x="24752" y="43720"/>
                    </a:cubicBezTo>
                    <a:cubicBezTo>
                      <a:pt x="32770" y="53284"/>
                      <a:pt x="39845" y="63602"/>
                      <a:pt x="45871" y="74525"/>
                    </a:cubicBezTo>
                    <a:cubicBezTo>
                      <a:pt x="46719" y="76018"/>
                      <a:pt x="48602" y="76530"/>
                      <a:pt x="50095" y="75695"/>
                    </a:cubicBezTo>
                    <a:cubicBezTo>
                      <a:pt x="51091" y="75131"/>
                      <a:pt x="51695" y="74054"/>
                      <a:pt x="51655" y="72911"/>
                    </a:cubicBezTo>
                    <a:lnTo>
                      <a:pt x="51655" y="65377"/>
                    </a:lnTo>
                    <a:cubicBezTo>
                      <a:pt x="60843" y="56377"/>
                      <a:pt x="66035" y="44068"/>
                      <a:pt x="66048" y="31208"/>
                    </a:cubicBezTo>
                    <a:cubicBezTo>
                      <a:pt x="65957" y="30268"/>
                      <a:pt x="65244" y="29501"/>
                      <a:pt x="64302" y="29327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77">
                <a:extLst>
                  <a:ext uri="{FF2B5EF4-FFF2-40B4-BE49-F238E27FC236}">
                    <a16:creationId xmlns:a16="http://schemas.microsoft.com/office/drawing/2014/main" xmlns="" id="{2CAC7F75-FDF1-4103-A9F7-FF8C1ECC3895}"/>
                  </a:ext>
                </a:extLst>
              </p:cNvPr>
              <p:cNvSpPr/>
              <p:nvPr/>
            </p:nvSpPr>
            <p:spPr>
              <a:xfrm>
                <a:off x="2177732" y="5319576"/>
                <a:ext cx="64294" cy="75724"/>
              </a:xfrm>
              <a:custGeom>
                <a:avLst/>
                <a:gdLst>
                  <a:gd name="connsiteX0" fmla="*/ 48697 w 64293"/>
                  <a:gd name="connsiteY0" fmla="*/ 0 h 75723"/>
                  <a:gd name="connsiteX1" fmla="*/ 19910 w 64293"/>
                  <a:gd name="connsiteY1" fmla="*/ 40356 h 75723"/>
                  <a:gd name="connsiteX2" fmla="*/ 17354 w 64293"/>
                  <a:gd name="connsiteY2" fmla="*/ 48025 h 75723"/>
                  <a:gd name="connsiteX3" fmla="*/ 3902 w 64293"/>
                  <a:gd name="connsiteY3" fmla="*/ 30268 h 75723"/>
                  <a:gd name="connsiteX4" fmla="*/ 902 w 64293"/>
                  <a:gd name="connsiteY4" fmla="*/ 29771 h 75723"/>
                  <a:gd name="connsiteX5" fmla="*/ 0 w 64293"/>
                  <a:gd name="connsiteY5" fmla="*/ 31480 h 75723"/>
                  <a:gd name="connsiteX6" fmla="*/ 14393 w 64293"/>
                  <a:gd name="connsiteY6" fmla="*/ 65648 h 75723"/>
                  <a:gd name="connsiteX7" fmla="*/ 13720 w 64293"/>
                  <a:gd name="connsiteY7" fmla="*/ 73182 h 75723"/>
                  <a:gd name="connsiteX8" fmla="*/ 16721 w 64293"/>
                  <a:gd name="connsiteY8" fmla="*/ 76357 h 75723"/>
                  <a:gd name="connsiteX9" fmla="*/ 19505 w 64293"/>
                  <a:gd name="connsiteY9" fmla="*/ 74796 h 75723"/>
                  <a:gd name="connsiteX10" fmla="*/ 40491 w 64293"/>
                  <a:gd name="connsiteY10" fmla="*/ 43991 h 75723"/>
                  <a:gd name="connsiteX11" fmla="*/ 65512 w 64293"/>
                  <a:gd name="connsiteY11" fmla="*/ 18567 h 75723"/>
                  <a:gd name="connsiteX12" fmla="*/ 48697 w 64293"/>
                  <a:gd name="connsiteY12" fmla="*/ 0 h 75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4293" h="75723">
                    <a:moveTo>
                      <a:pt x="48697" y="0"/>
                    </a:moveTo>
                    <a:cubicBezTo>
                      <a:pt x="36563" y="11449"/>
                      <a:pt x="26783" y="25156"/>
                      <a:pt x="19910" y="40356"/>
                    </a:cubicBezTo>
                    <a:cubicBezTo>
                      <a:pt x="18968" y="42913"/>
                      <a:pt x="18027" y="45469"/>
                      <a:pt x="17354" y="48025"/>
                    </a:cubicBezTo>
                    <a:cubicBezTo>
                      <a:pt x="12013" y="42805"/>
                      <a:pt x="7479" y="36819"/>
                      <a:pt x="3902" y="30268"/>
                    </a:cubicBezTo>
                    <a:cubicBezTo>
                      <a:pt x="3216" y="29299"/>
                      <a:pt x="1870" y="29084"/>
                      <a:pt x="902" y="29771"/>
                    </a:cubicBezTo>
                    <a:cubicBezTo>
                      <a:pt x="350" y="30161"/>
                      <a:pt x="14" y="30794"/>
                      <a:pt x="0" y="31480"/>
                    </a:cubicBezTo>
                    <a:cubicBezTo>
                      <a:pt x="13" y="44340"/>
                      <a:pt x="5206" y="56648"/>
                      <a:pt x="14393" y="65648"/>
                    </a:cubicBezTo>
                    <a:cubicBezTo>
                      <a:pt x="14515" y="68177"/>
                      <a:pt x="14286" y="70706"/>
                      <a:pt x="13720" y="73182"/>
                    </a:cubicBezTo>
                    <a:cubicBezTo>
                      <a:pt x="13666" y="74891"/>
                      <a:pt x="15012" y="76317"/>
                      <a:pt x="16721" y="76357"/>
                    </a:cubicBezTo>
                    <a:cubicBezTo>
                      <a:pt x="17864" y="76384"/>
                      <a:pt x="18941" y="75792"/>
                      <a:pt x="19505" y="74796"/>
                    </a:cubicBezTo>
                    <a:cubicBezTo>
                      <a:pt x="25532" y="63901"/>
                      <a:pt x="32554" y="53582"/>
                      <a:pt x="40491" y="43991"/>
                    </a:cubicBezTo>
                    <a:cubicBezTo>
                      <a:pt x="47863" y="34614"/>
                      <a:pt x="56243" y="26086"/>
                      <a:pt x="65512" y="18567"/>
                    </a:cubicBezTo>
                    <a:lnTo>
                      <a:pt x="48697" y="0"/>
                    </a:ln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78">
                <a:extLst>
                  <a:ext uri="{FF2B5EF4-FFF2-40B4-BE49-F238E27FC236}">
                    <a16:creationId xmlns:a16="http://schemas.microsoft.com/office/drawing/2014/main" xmlns="" id="{6E2703B9-2A2C-444A-B1FD-27EC770C3029}"/>
                  </a:ext>
                </a:extLst>
              </p:cNvPr>
              <p:cNvSpPr/>
              <p:nvPr/>
            </p:nvSpPr>
            <p:spPr>
              <a:xfrm>
                <a:off x="1964380" y="5179001"/>
                <a:ext cx="25718" cy="25718"/>
              </a:xfrm>
              <a:custGeom>
                <a:avLst/>
                <a:gdLst>
                  <a:gd name="connsiteX0" fmla="*/ 26903 w 25717"/>
                  <a:gd name="connsiteY0" fmla="*/ 13452 h 25717"/>
                  <a:gd name="connsiteX1" fmla="*/ 13452 w 25717"/>
                  <a:gd name="connsiteY1" fmla="*/ 26903 h 25717"/>
                  <a:gd name="connsiteX2" fmla="*/ 0 w 25717"/>
                  <a:gd name="connsiteY2" fmla="*/ 13452 h 25717"/>
                  <a:gd name="connsiteX3" fmla="*/ 13452 w 25717"/>
                  <a:gd name="connsiteY3" fmla="*/ 0 h 25717"/>
                  <a:gd name="connsiteX4" fmla="*/ 26903 w 25717"/>
                  <a:gd name="connsiteY4" fmla="*/ 13452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7" h="25717">
                    <a:moveTo>
                      <a:pt x="26903" y="13452"/>
                    </a:moveTo>
                    <a:cubicBezTo>
                      <a:pt x="26903" y="20881"/>
                      <a:pt x="20881" y="26903"/>
                      <a:pt x="13452" y="26903"/>
                    </a:cubicBezTo>
                    <a:cubicBezTo>
                      <a:pt x="6023" y="26903"/>
                      <a:pt x="0" y="20881"/>
                      <a:pt x="0" y="13452"/>
                    </a:cubicBezTo>
                    <a:cubicBezTo>
                      <a:pt x="0" y="6023"/>
                      <a:pt x="6023" y="0"/>
                      <a:pt x="13452" y="0"/>
                    </a:cubicBezTo>
                    <a:cubicBezTo>
                      <a:pt x="20881" y="0"/>
                      <a:pt x="26903" y="6023"/>
                      <a:pt x="26903" y="13452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79">
                <a:extLst>
                  <a:ext uri="{FF2B5EF4-FFF2-40B4-BE49-F238E27FC236}">
                    <a16:creationId xmlns:a16="http://schemas.microsoft.com/office/drawing/2014/main" xmlns="" id="{AD1526BD-BB76-43A6-8EF7-CA5569435774}"/>
                  </a:ext>
                </a:extLst>
              </p:cNvPr>
              <p:cNvSpPr/>
              <p:nvPr/>
            </p:nvSpPr>
            <p:spPr>
              <a:xfrm>
                <a:off x="2091505" y="5179001"/>
                <a:ext cx="25718" cy="25718"/>
              </a:xfrm>
              <a:custGeom>
                <a:avLst/>
                <a:gdLst>
                  <a:gd name="connsiteX0" fmla="*/ 26903 w 25717"/>
                  <a:gd name="connsiteY0" fmla="*/ 13452 h 25717"/>
                  <a:gd name="connsiteX1" fmla="*/ 13452 w 25717"/>
                  <a:gd name="connsiteY1" fmla="*/ 26903 h 25717"/>
                  <a:gd name="connsiteX2" fmla="*/ 0 w 25717"/>
                  <a:gd name="connsiteY2" fmla="*/ 13452 h 25717"/>
                  <a:gd name="connsiteX3" fmla="*/ 13452 w 25717"/>
                  <a:gd name="connsiteY3" fmla="*/ 0 h 25717"/>
                  <a:gd name="connsiteX4" fmla="*/ 26903 w 25717"/>
                  <a:gd name="connsiteY4" fmla="*/ 13452 h 25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7" h="25717">
                    <a:moveTo>
                      <a:pt x="26903" y="13452"/>
                    </a:moveTo>
                    <a:cubicBezTo>
                      <a:pt x="26903" y="20881"/>
                      <a:pt x="20881" y="26903"/>
                      <a:pt x="13452" y="26903"/>
                    </a:cubicBezTo>
                    <a:cubicBezTo>
                      <a:pt x="6023" y="26903"/>
                      <a:pt x="0" y="20881"/>
                      <a:pt x="0" y="13452"/>
                    </a:cubicBezTo>
                    <a:cubicBezTo>
                      <a:pt x="0" y="6023"/>
                      <a:pt x="6023" y="0"/>
                      <a:pt x="13452" y="0"/>
                    </a:cubicBezTo>
                    <a:cubicBezTo>
                      <a:pt x="20881" y="0"/>
                      <a:pt x="26903" y="6023"/>
                      <a:pt x="26903" y="13452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80">
                <a:extLst>
                  <a:ext uri="{FF2B5EF4-FFF2-40B4-BE49-F238E27FC236}">
                    <a16:creationId xmlns:a16="http://schemas.microsoft.com/office/drawing/2014/main" xmlns="" id="{CC083F4A-952C-4CAA-A382-A89BB09907CA}"/>
                  </a:ext>
                </a:extLst>
              </p:cNvPr>
              <p:cNvSpPr/>
              <p:nvPr/>
            </p:nvSpPr>
            <p:spPr>
              <a:xfrm>
                <a:off x="2009040" y="5311100"/>
                <a:ext cx="67151" cy="12859"/>
              </a:xfrm>
              <a:custGeom>
                <a:avLst/>
                <a:gdLst>
                  <a:gd name="connsiteX0" fmla="*/ 60536 w 67151"/>
                  <a:gd name="connsiteY0" fmla="*/ 13453 h 12858"/>
                  <a:gd name="connsiteX1" fmla="*/ 6727 w 67151"/>
                  <a:gd name="connsiteY1" fmla="*/ 13453 h 12858"/>
                  <a:gd name="connsiteX2" fmla="*/ 0 w 67151"/>
                  <a:gd name="connsiteY2" fmla="*/ 6727 h 12858"/>
                  <a:gd name="connsiteX3" fmla="*/ 6727 w 67151"/>
                  <a:gd name="connsiteY3" fmla="*/ 0 h 12858"/>
                  <a:gd name="connsiteX4" fmla="*/ 60536 w 67151"/>
                  <a:gd name="connsiteY4" fmla="*/ 0 h 12858"/>
                  <a:gd name="connsiteX5" fmla="*/ 67263 w 67151"/>
                  <a:gd name="connsiteY5" fmla="*/ 6727 h 12858"/>
                  <a:gd name="connsiteX6" fmla="*/ 60536 w 67151"/>
                  <a:gd name="connsiteY6" fmla="*/ 13453 h 1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151" h="12858">
                    <a:moveTo>
                      <a:pt x="60536" y="13453"/>
                    </a:moveTo>
                    <a:lnTo>
                      <a:pt x="6727" y="13453"/>
                    </a:lnTo>
                    <a:cubicBezTo>
                      <a:pt x="3013" y="13453"/>
                      <a:pt x="0" y="10440"/>
                      <a:pt x="0" y="6727"/>
                    </a:cubicBezTo>
                    <a:cubicBezTo>
                      <a:pt x="0" y="3013"/>
                      <a:pt x="3013" y="0"/>
                      <a:pt x="6727" y="0"/>
                    </a:cubicBezTo>
                    <a:lnTo>
                      <a:pt x="60536" y="0"/>
                    </a:lnTo>
                    <a:cubicBezTo>
                      <a:pt x="64249" y="0"/>
                      <a:pt x="67263" y="3013"/>
                      <a:pt x="67263" y="6727"/>
                    </a:cubicBezTo>
                    <a:cubicBezTo>
                      <a:pt x="67263" y="10440"/>
                      <a:pt x="64262" y="13453"/>
                      <a:pt x="60536" y="13453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81">
                <a:extLst>
                  <a:ext uri="{FF2B5EF4-FFF2-40B4-BE49-F238E27FC236}">
                    <a16:creationId xmlns:a16="http://schemas.microsoft.com/office/drawing/2014/main" xmlns="" id="{8084C961-A508-4543-9EEF-89D4B3A09523}"/>
                  </a:ext>
                </a:extLst>
              </p:cNvPr>
              <p:cNvSpPr/>
              <p:nvPr/>
            </p:nvSpPr>
            <p:spPr>
              <a:xfrm>
                <a:off x="2028008" y="5332893"/>
                <a:ext cx="30004" cy="12859"/>
              </a:xfrm>
              <a:custGeom>
                <a:avLst/>
                <a:gdLst>
                  <a:gd name="connsiteX0" fmla="*/ 24214 w 30003"/>
                  <a:gd name="connsiteY0" fmla="*/ 13453 h 12858"/>
                  <a:gd name="connsiteX1" fmla="*/ 6727 w 30003"/>
                  <a:gd name="connsiteY1" fmla="*/ 13453 h 12858"/>
                  <a:gd name="connsiteX2" fmla="*/ 0 w 30003"/>
                  <a:gd name="connsiteY2" fmla="*/ 6727 h 12858"/>
                  <a:gd name="connsiteX3" fmla="*/ 6727 w 30003"/>
                  <a:gd name="connsiteY3" fmla="*/ 0 h 12858"/>
                  <a:gd name="connsiteX4" fmla="*/ 24214 w 30003"/>
                  <a:gd name="connsiteY4" fmla="*/ 0 h 12858"/>
                  <a:gd name="connsiteX5" fmla="*/ 30941 w 30003"/>
                  <a:gd name="connsiteY5" fmla="*/ 6727 h 12858"/>
                  <a:gd name="connsiteX6" fmla="*/ 24214 w 30003"/>
                  <a:gd name="connsiteY6" fmla="*/ 13453 h 12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003" h="12858">
                    <a:moveTo>
                      <a:pt x="24214" y="13453"/>
                    </a:moveTo>
                    <a:lnTo>
                      <a:pt x="6727" y="13453"/>
                    </a:lnTo>
                    <a:cubicBezTo>
                      <a:pt x="3013" y="13453"/>
                      <a:pt x="0" y="10440"/>
                      <a:pt x="0" y="6727"/>
                    </a:cubicBezTo>
                    <a:cubicBezTo>
                      <a:pt x="0" y="3013"/>
                      <a:pt x="3013" y="0"/>
                      <a:pt x="6727" y="0"/>
                    </a:cubicBezTo>
                    <a:lnTo>
                      <a:pt x="24214" y="0"/>
                    </a:lnTo>
                    <a:cubicBezTo>
                      <a:pt x="27928" y="0"/>
                      <a:pt x="30941" y="3013"/>
                      <a:pt x="30941" y="6727"/>
                    </a:cubicBezTo>
                    <a:cubicBezTo>
                      <a:pt x="30941" y="10440"/>
                      <a:pt x="27942" y="13453"/>
                      <a:pt x="24214" y="13453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82">
                <a:extLst>
                  <a:ext uri="{FF2B5EF4-FFF2-40B4-BE49-F238E27FC236}">
                    <a16:creationId xmlns:a16="http://schemas.microsoft.com/office/drawing/2014/main" xmlns="" id="{DAF3B5C8-D157-4EC7-985D-323D5E702930}"/>
                  </a:ext>
                </a:extLst>
              </p:cNvPr>
              <p:cNvSpPr/>
              <p:nvPr/>
            </p:nvSpPr>
            <p:spPr>
              <a:xfrm>
                <a:off x="2009042" y="5270471"/>
                <a:ext cx="67151" cy="18574"/>
              </a:xfrm>
              <a:custGeom>
                <a:avLst/>
                <a:gdLst>
                  <a:gd name="connsiteX0" fmla="*/ 33442 w 67151"/>
                  <a:gd name="connsiteY0" fmla="*/ 19712 h 18573"/>
                  <a:gd name="connsiteX1" fmla="*/ 19370 w 67151"/>
                  <a:gd name="connsiteY1" fmla="*/ 17399 h 18573"/>
                  <a:gd name="connsiteX2" fmla="*/ 4963 w 67151"/>
                  <a:gd name="connsiteY2" fmla="*/ 13484 h 18573"/>
                  <a:gd name="connsiteX3" fmla="*/ 240 w 67151"/>
                  <a:gd name="connsiteY3" fmla="*/ 5225 h 18573"/>
                  <a:gd name="connsiteX4" fmla="*/ 8500 w 67151"/>
                  <a:gd name="connsiteY4" fmla="*/ 503 h 18573"/>
                  <a:gd name="connsiteX5" fmla="*/ 23298 w 67151"/>
                  <a:gd name="connsiteY5" fmla="*/ 4539 h 18573"/>
                  <a:gd name="connsiteX6" fmla="*/ 43583 w 67151"/>
                  <a:gd name="connsiteY6" fmla="*/ 4445 h 18573"/>
                  <a:gd name="connsiteX7" fmla="*/ 58905 w 67151"/>
                  <a:gd name="connsiteY7" fmla="*/ 234 h 18573"/>
                  <a:gd name="connsiteX8" fmla="*/ 67165 w 67151"/>
                  <a:gd name="connsiteY8" fmla="*/ 4956 h 18573"/>
                  <a:gd name="connsiteX9" fmla="*/ 62443 w 67151"/>
                  <a:gd name="connsiteY9" fmla="*/ 13216 h 18573"/>
                  <a:gd name="connsiteX10" fmla="*/ 47645 w 67151"/>
                  <a:gd name="connsiteY10" fmla="*/ 17252 h 18573"/>
                  <a:gd name="connsiteX11" fmla="*/ 33442 w 67151"/>
                  <a:gd name="connsiteY11" fmla="*/ 19712 h 18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151" h="18573">
                    <a:moveTo>
                      <a:pt x="33442" y="19712"/>
                    </a:moveTo>
                    <a:cubicBezTo>
                      <a:pt x="28720" y="19712"/>
                      <a:pt x="23931" y="18945"/>
                      <a:pt x="19370" y="17399"/>
                    </a:cubicBezTo>
                    <a:lnTo>
                      <a:pt x="4963" y="13484"/>
                    </a:lnTo>
                    <a:cubicBezTo>
                      <a:pt x="1371" y="12516"/>
                      <a:pt x="-741" y="8802"/>
                      <a:pt x="240" y="5225"/>
                    </a:cubicBezTo>
                    <a:cubicBezTo>
                      <a:pt x="1222" y="1647"/>
                      <a:pt x="4935" y="-424"/>
                      <a:pt x="8500" y="503"/>
                    </a:cubicBezTo>
                    <a:lnTo>
                      <a:pt x="23298" y="4539"/>
                    </a:lnTo>
                    <a:cubicBezTo>
                      <a:pt x="30131" y="6839"/>
                      <a:pt x="37194" y="6772"/>
                      <a:pt x="43583" y="4445"/>
                    </a:cubicBezTo>
                    <a:lnTo>
                      <a:pt x="58905" y="234"/>
                    </a:lnTo>
                    <a:cubicBezTo>
                      <a:pt x="62551" y="-735"/>
                      <a:pt x="66196" y="1391"/>
                      <a:pt x="67165" y="4956"/>
                    </a:cubicBezTo>
                    <a:cubicBezTo>
                      <a:pt x="68133" y="8548"/>
                      <a:pt x="66022" y="12247"/>
                      <a:pt x="62443" y="13216"/>
                    </a:cubicBezTo>
                    <a:lnTo>
                      <a:pt x="47645" y="17252"/>
                    </a:lnTo>
                    <a:cubicBezTo>
                      <a:pt x="43194" y="18878"/>
                      <a:pt x="38351" y="19712"/>
                      <a:pt x="33442" y="19712"/>
                    </a:cubicBezTo>
                    <a:close/>
                  </a:path>
                </a:pathLst>
              </a:custGeom>
              <a:grpFill/>
              <a:ln w="14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xmlns="" id="{6D55279D-7777-49B5-9EA0-96B1A9790650}"/>
              </a:ext>
            </a:extLst>
          </p:cNvPr>
          <p:cNvGrpSpPr/>
          <p:nvPr/>
        </p:nvGrpSpPr>
        <p:grpSpPr>
          <a:xfrm>
            <a:off x="8538759" y="5112887"/>
            <a:ext cx="866636" cy="733504"/>
            <a:chOff x="8507413" y="4892672"/>
            <a:chExt cx="1000125" cy="838201"/>
          </a:xfrm>
        </p:grpSpPr>
        <p:sp>
          <p:nvSpPr>
            <p:cNvPr id="72" name="Freeform 279">
              <a:extLst>
                <a:ext uri="{FF2B5EF4-FFF2-40B4-BE49-F238E27FC236}">
                  <a16:creationId xmlns:a16="http://schemas.microsoft.com/office/drawing/2014/main" xmlns="" id="{C4CBBF4E-5A0A-47BD-90E6-94E72027B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13" y="5102222"/>
              <a:ext cx="50800" cy="0"/>
            </a:xfrm>
            <a:custGeom>
              <a:avLst/>
              <a:gdLst>
                <a:gd name="T0" fmla="*/ 0 w 32"/>
                <a:gd name="T1" fmla="*/ 17 w 32"/>
                <a:gd name="T2" fmla="*/ 32 w 3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">
                  <a:moveTo>
                    <a:pt x="0" y="0"/>
                  </a:moveTo>
                  <a:lnTo>
                    <a:pt x="17" y="0"/>
                  </a:lnTo>
                  <a:lnTo>
                    <a:pt x="32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80">
              <a:extLst>
                <a:ext uri="{FF2B5EF4-FFF2-40B4-BE49-F238E27FC236}">
                  <a16:creationId xmlns:a16="http://schemas.microsoft.com/office/drawing/2014/main" xmlns="" id="{8D6199E8-8390-42E8-A361-2A1C594EC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01" y="5102222"/>
              <a:ext cx="49213" cy="0"/>
            </a:xfrm>
            <a:custGeom>
              <a:avLst/>
              <a:gdLst>
                <a:gd name="T0" fmla="*/ 31 w 31"/>
                <a:gd name="T1" fmla="*/ 15 w 31"/>
                <a:gd name="T2" fmla="*/ 0 w 3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">
                  <a:moveTo>
                    <a:pt x="31" y="0"/>
                  </a:move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281">
              <a:extLst>
                <a:ext uri="{FF2B5EF4-FFF2-40B4-BE49-F238E27FC236}">
                  <a16:creationId xmlns:a16="http://schemas.microsoft.com/office/drawing/2014/main" xmlns="" id="{83CED7F1-1EF9-41B8-97C6-60A6AA8023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5863" y="5137147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282">
              <a:extLst>
                <a:ext uri="{FF2B5EF4-FFF2-40B4-BE49-F238E27FC236}">
                  <a16:creationId xmlns:a16="http://schemas.microsoft.com/office/drawing/2014/main" xmlns="" id="{FE05843B-6A32-47C3-A5AC-1E9A6D3C5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7113" y="5137147"/>
              <a:ext cx="31750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83">
              <a:extLst>
                <a:ext uri="{FF2B5EF4-FFF2-40B4-BE49-F238E27FC236}">
                  <a16:creationId xmlns:a16="http://schemas.microsoft.com/office/drawing/2014/main" xmlns="" id="{05BEC5F3-EEEA-4734-B24B-D03FF1FD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851" y="5006972"/>
              <a:ext cx="328613" cy="269875"/>
            </a:xfrm>
            <a:custGeom>
              <a:avLst/>
              <a:gdLst>
                <a:gd name="T0" fmla="*/ 0 w 771"/>
                <a:gd name="T1" fmla="*/ 51 h 634"/>
                <a:gd name="T2" fmla="*/ 0 w 771"/>
                <a:gd name="T3" fmla="*/ 393 h 634"/>
                <a:gd name="T4" fmla="*/ 169 w 771"/>
                <a:gd name="T5" fmla="*/ 634 h 634"/>
                <a:gd name="T6" fmla="*/ 181 w 771"/>
                <a:gd name="T7" fmla="*/ 616 h 634"/>
                <a:gd name="T8" fmla="*/ 286 w 771"/>
                <a:gd name="T9" fmla="*/ 560 h 634"/>
                <a:gd name="T10" fmla="*/ 386 w 771"/>
                <a:gd name="T11" fmla="*/ 560 h 634"/>
                <a:gd name="T12" fmla="*/ 485 w 771"/>
                <a:gd name="T13" fmla="*/ 560 h 634"/>
                <a:gd name="T14" fmla="*/ 590 w 771"/>
                <a:gd name="T15" fmla="*/ 616 h 634"/>
                <a:gd name="T16" fmla="*/ 602 w 771"/>
                <a:gd name="T17" fmla="*/ 634 h 634"/>
                <a:gd name="T18" fmla="*/ 771 w 771"/>
                <a:gd name="T19" fmla="*/ 393 h 634"/>
                <a:gd name="T20" fmla="*/ 771 w 771"/>
                <a:gd name="T21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1" h="634">
                  <a:moveTo>
                    <a:pt x="0" y="51"/>
                  </a:moveTo>
                  <a:cubicBezTo>
                    <a:pt x="0" y="393"/>
                    <a:pt x="0" y="393"/>
                    <a:pt x="0" y="393"/>
                  </a:cubicBezTo>
                  <a:cubicBezTo>
                    <a:pt x="0" y="505"/>
                    <a:pt x="76" y="603"/>
                    <a:pt x="169" y="634"/>
                  </a:cubicBezTo>
                  <a:cubicBezTo>
                    <a:pt x="181" y="616"/>
                    <a:pt x="181" y="616"/>
                    <a:pt x="181" y="616"/>
                  </a:cubicBezTo>
                  <a:cubicBezTo>
                    <a:pt x="204" y="581"/>
                    <a:pt x="244" y="560"/>
                    <a:pt x="286" y="560"/>
                  </a:cubicBezTo>
                  <a:cubicBezTo>
                    <a:pt x="386" y="560"/>
                    <a:pt x="386" y="560"/>
                    <a:pt x="386" y="560"/>
                  </a:cubicBezTo>
                  <a:cubicBezTo>
                    <a:pt x="485" y="560"/>
                    <a:pt x="485" y="560"/>
                    <a:pt x="485" y="560"/>
                  </a:cubicBezTo>
                  <a:cubicBezTo>
                    <a:pt x="527" y="560"/>
                    <a:pt x="567" y="581"/>
                    <a:pt x="590" y="616"/>
                  </a:cubicBezTo>
                  <a:cubicBezTo>
                    <a:pt x="602" y="634"/>
                    <a:pt x="602" y="634"/>
                    <a:pt x="602" y="634"/>
                  </a:cubicBezTo>
                  <a:cubicBezTo>
                    <a:pt x="696" y="603"/>
                    <a:pt x="771" y="505"/>
                    <a:pt x="771" y="393"/>
                  </a:cubicBezTo>
                  <a:cubicBezTo>
                    <a:pt x="771" y="0"/>
                    <a:pt x="771" y="0"/>
                    <a:pt x="771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84">
              <a:extLst>
                <a:ext uri="{FF2B5EF4-FFF2-40B4-BE49-F238E27FC236}">
                  <a16:creationId xmlns:a16="http://schemas.microsoft.com/office/drawing/2014/main" xmlns="" id="{937E9464-8A78-490A-AEE0-D1B59BBC8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3801" y="4938710"/>
              <a:ext cx="69850" cy="17463"/>
            </a:xfrm>
            <a:custGeom>
              <a:avLst/>
              <a:gdLst>
                <a:gd name="T0" fmla="*/ 163 w 163"/>
                <a:gd name="T1" fmla="*/ 41 h 41"/>
                <a:gd name="T2" fmla="*/ 73 w 163"/>
                <a:gd name="T3" fmla="*/ 0 h 41"/>
                <a:gd name="T4" fmla="*/ 0 w 163"/>
                <a:gd name="T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3" h="41">
                  <a:moveTo>
                    <a:pt x="163" y="41"/>
                  </a:moveTo>
                  <a:cubicBezTo>
                    <a:pt x="142" y="16"/>
                    <a:pt x="109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85">
              <a:extLst>
                <a:ext uri="{FF2B5EF4-FFF2-40B4-BE49-F238E27FC236}">
                  <a16:creationId xmlns:a16="http://schemas.microsoft.com/office/drawing/2014/main" xmlns="" id="{ED06267E-2711-4393-A553-8D250A1CB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7101" y="4897435"/>
              <a:ext cx="390525" cy="492125"/>
            </a:xfrm>
            <a:custGeom>
              <a:avLst/>
              <a:gdLst>
                <a:gd name="T0" fmla="*/ 458 w 915"/>
                <a:gd name="T1" fmla="*/ 1156 h 1156"/>
                <a:gd name="T2" fmla="*/ 915 w 915"/>
                <a:gd name="T3" fmla="*/ 674 h 1156"/>
                <a:gd name="T4" fmla="*/ 915 w 915"/>
                <a:gd name="T5" fmla="*/ 337 h 1156"/>
                <a:gd name="T6" fmla="*/ 915 w 915"/>
                <a:gd name="T7" fmla="*/ 216 h 1156"/>
                <a:gd name="T8" fmla="*/ 699 w 915"/>
                <a:gd name="T9" fmla="*/ 0 h 1156"/>
                <a:gd name="T10" fmla="*/ 265 w 915"/>
                <a:gd name="T11" fmla="*/ 0 h 1156"/>
                <a:gd name="T12" fmla="*/ 121 w 915"/>
                <a:gd name="T13" fmla="*/ 144 h 1156"/>
                <a:gd name="T14" fmla="*/ 121 w 915"/>
                <a:gd name="T15" fmla="*/ 144 h 1156"/>
                <a:gd name="T16" fmla="*/ 121 w 915"/>
                <a:gd name="T17" fmla="*/ 144 h 1156"/>
                <a:gd name="T18" fmla="*/ 0 w 915"/>
                <a:gd name="T19" fmla="*/ 265 h 1156"/>
                <a:gd name="T20" fmla="*/ 0 w 915"/>
                <a:gd name="T21" fmla="*/ 674 h 1156"/>
                <a:gd name="T22" fmla="*/ 458 w 915"/>
                <a:gd name="T23" fmla="*/ 1156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5" h="1156">
                  <a:moveTo>
                    <a:pt x="458" y="1156"/>
                  </a:moveTo>
                  <a:cubicBezTo>
                    <a:pt x="723" y="1156"/>
                    <a:pt x="915" y="940"/>
                    <a:pt x="915" y="674"/>
                  </a:cubicBezTo>
                  <a:cubicBezTo>
                    <a:pt x="915" y="337"/>
                    <a:pt x="915" y="337"/>
                    <a:pt x="915" y="337"/>
                  </a:cubicBezTo>
                  <a:cubicBezTo>
                    <a:pt x="915" y="216"/>
                    <a:pt x="915" y="216"/>
                    <a:pt x="915" y="216"/>
                  </a:cubicBezTo>
                  <a:cubicBezTo>
                    <a:pt x="915" y="97"/>
                    <a:pt x="818" y="0"/>
                    <a:pt x="699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185" y="0"/>
                    <a:pt x="121" y="65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54" y="144"/>
                    <a:pt x="0" y="198"/>
                    <a:pt x="0" y="265"/>
                  </a:cubicBezTo>
                  <a:cubicBezTo>
                    <a:pt x="0" y="674"/>
                    <a:pt x="0" y="674"/>
                    <a:pt x="0" y="674"/>
                  </a:cubicBezTo>
                  <a:cubicBezTo>
                    <a:pt x="0" y="940"/>
                    <a:pt x="192" y="1156"/>
                    <a:pt x="458" y="1156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86">
              <a:extLst>
                <a:ext uri="{FF2B5EF4-FFF2-40B4-BE49-F238E27FC236}">
                  <a16:creationId xmlns:a16="http://schemas.microsoft.com/office/drawing/2014/main" xmlns="" id="{F1C5EA44-9789-44E2-A7BA-CF5BC27AC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8388" y="5287960"/>
              <a:ext cx="109538" cy="39688"/>
            </a:xfrm>
            <a:custGeom>
              <a:avLst/>
              <a:gdLst>
                <a:gd name="T0" fmla="*/ 0 w 257"/>
                <a:gd name="T1" fmla="*/ 0 h 95"/>
                <a:gd name="T2" fmla="*/ 129 w 257"/>
                <a:gd name="T3" fmla="*/ 95 h 95"/>
                <a:gd name="T4" fmla="*/ 257 w 257"/>
                <a:gd name="T5" fmla="*/ 0 h 95"/>
                <a:gd name="T6" fmla="*/ 0 w 257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95">
                  <a:moveTo>
                    <a:pt x="0" y="0"/>
                  </a:moveTo>
                  <a:cubicBezTo>
                    <a:pt x="17" y="55"/>
                    <a:pt x="68" y="95"/>
                    <a:pt x="129" y="95"/>
                  </a:cubicBezTo>
                  <a:cubicBezTo>
                    <a:pt x="189" y="95"/>
                    <a:pt x="240" y="55"/>
                    <a:pt x="257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87">
              <a:extLst>
                <a:ext uri="{FF2B5EF4-FFF2-40B4-BE49-F238E27FC236}">
                  <a16:creationId xmlns:a16="http://schemas.microsoft.com/office/drawing/2014/main" xmlns="" id="{806D2D48-9148-4F19-9363-DC853A5E9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851" y="5008560"/>
              <a:ext cx="328613" cy="47625"/>
            </a:xfrm>
            <a:custGeom>
              <a:avLst/>
              <a:gdLst>
                <a:gd name="T0" fmla="*/ 771 w 771"/>
                <a:gd name="T1" fmla="*/ 0 h 114"/>
                <a:gd name="T2" fmla="*/ 446 w 771"/>
                <a:gd name="T3" fmla="*/ 78 h 114"/>
                <a:gd name="T4" fmla="*/ 121 w 771"/>
                <a:gd name="T5" fmla="*/ 0 h 114"/>
                <a:gd name="T6" fmla="*/ 0 w 77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1" h="114">
                  <a:moveTo>
                    <a:pt x="771" y="0"/>
                  </a:moveTo>
                  <a:cubicBezTo>
                    <a:pt x="771" y="0"/>
                    <a:pt x="626" y="78"/>
                    <a:pt x="446" y="78"/>
                  </a:cubicBezTo>
                  <a:cubicBezTo>
                    <a:pt x="266" y="78"/>
                    <a:pt x="121" y="0"/>
                    <a:pt x="121" y="0"/>
                  </a:cubicBezTo>
                  <a:cubicBezTo>
                    <a:pt x="121" y="0"/>
                    <a:pt x="94" y="114"/>
                    <a:pt x="0" y="114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8">
              <a:extLst>
                <a:ext uri="{FF2B5EF4-FFF2-40B4-BE49-F238E27FC236}">
                  <a16:creationId xmlns:a16="http://schemas.microsoft.com/office/drawing/2014/main" xmlns="" id="{65670C52-3107-4588-88CE-A5F58F747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26" y="5102222"/>
              <a:ext cx="30163" cy="93663"/>
            </a:xfrm>
            <a:custGeom>
              <a:avLst/>
              <a:gdLst>
                <a:gd name="T0" fmla="*/ 0 w 73"/>
                <a:gd name="T1" fmla="*/ 221 h 221"/>
                <a:gd name="T2" fmla="*/ 73 w 73"/>
                <a:gd name="T3" fmla="*/ 111 h 221"/>
                <a:gd name="T4" fmla="*/ 1 w 73"/>
                <a:gd name="T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221">
                  <a:moveTo>
                    <a:pt x="0" y="221"/>
                  </a:moveTo>
                  <a:cubicBezTo>
                    <a:pt x="43" y="203"/>
                    <a:pt x="73" y="160"/>
                    <a:pt x="73" y="111"/>
                  </a:cubicBezTo>
                  <a:cubicBezTo>
                    <a:pt x="73" y="61"/>
                    <a:pt x="43" y="19"/>
                    <a:pt x="1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89">
              <a:extLst>
                <a:ext uri="{FF2B5EF4-FFF2-40B4-BE49-F238E27FC236}">
                  <a16:creationId xmlns:a16="http://schemas.microsoft.com/office/drawing/2014/main" xmlns="" id="{5D101DF6-F189-4195-B487-0C240F95D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6938" y="5102222"/>
              <a:ext cx="31750" cy="93663"/>
            </a:xfrm>
            <a:custGeom>
              <a:avLst/>
              <a:gdLst>
                <a:gd name="T0" fmla="*/ 73 w 73"/>
                <a:gd name="T1" fmla="*/ 221 h 221"/>
                <a:gd name="T2" fmla="*/ 0 w 73"/>
                <a:gd name="T3" fmla="*/ 111 h 221"/>
                <a:gd name="T4" fmla="*/ 72 w 73"/>
                <a:gd name="T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221">
                  <a:moveTo>
                    <a:pt x="73" y="221"/>
                  </a:moveTo>
                  <a:cubicBezTo>
                    <a:pt x="30" y="203"/>
                    <a:pt x="0" y="160"/>
                    <a:pt x="0" y="111"/>
                  </a:cubicBezTo>
                  <a:cubicBezTo>
                    <a:pt x="0" y="61"/>
                    <a:pt x="30" y="19"/>
                    <a:pt x="72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90">
              <a:extLst>
                <a:ext uri="{FF2B5EF4-FFF2-40B4-BE49-F238E27FC236}">
                  <a16:creationId xmlns:a16="http://schemas.microsoft.com/office/drawing/2014/main" xmlns="" id="{B9175149-844A-4223-97D2-604DF3B64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0451" y="5380035"/>
              <a:ext cx="123825" cy="100013"/>
            </a:xfrm>
            <a:custGeom>
              <a:avLst/>
              <a:gdLst>
                <a:gd name="T0" fmla="*/ 0 w 78"/>
                <a:gd name="T1" fmla="*/ 0 h 63"/>
                <a:gd name="T2" fmla="*/ 0 w 78"/>
                <a:gd name="T3" fmla="*/ 32 h 63"/>
                <a:gd name="T4" fmla="*/ 39 w 78"/>
                <a:gd name="T5" fmla="*/ 63 h 63"/>
                <a:gd name="T6" fmla="*/ 78 w 78"/>
                <a:gd name="T7" fmla="*/ 32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0"/>
                  </a:moveTo>
                  <a:lnTo>
                    <a:pt x="0" y="32"/>
                  </a:lnTo>
                  <a:lnTo>
                    <a:pt x="39" y="63"/>
                  </a:lnTo>
                  <a:lnTo>
                    <a:pt x="78" y="32"/>
                  </a:lnTo>
                  <a:lnTo>
                    <a:pt x="78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91">
              <a:extLst>
                <a:ext uri="{FF2B5EF4-FFF2-40B4-BE49-F238E27FC236}">
                  <a16:creationId xmlns:a16="http://schemas.microsoft.com/office/drawing/2014/main" xmlns="" id="{7BC61323-8E08-4D71-B7EB-ED672333C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7413" y="5430835"/>
              <a:ext cx="173038" cy="284163"/>
            </a:xfrm>
            <a:custGeom>
              <a:avLst/>
              <a:gdLst>
                <a:gd name="T0" fmla="*/ 0 w 409"/>
                <a:gd name="T1" fmla="*/ 669 h 669"/>
                <a:gd name="T2" fmla="*/ 0 w 409"/>
                <a:gd name="T3" fmla="*/ 191 h 669"/>
                <a:gd name="T4" fmla="*/ 191 w 409"/>
                <a:gd name="T5" fmla="*/ 0 h 669"/>
                <a:gd name="T6" fmla="*/ 409 w 409"/>
                <a:gd name="T7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669">
                  <a:moveTo>
                    <a:pt x="0" y="669"/>
                  </a:moveTo>
                  <a:cubicBezTo>
                    <a:pt x="0" y="191"/>
                    <a:pt x="0" y="191"/>
                    <a:pt x="0" y="191"/>
                  </a:cubicBezTo>
                  <a:cubicBezTo>
                    <a:pt x="0" y="86"/>
                    <a:pt x="86" y="0"/>
                    <a:pt x="191" y="0"/>
                  </a:cubicBezTo>
                  <a:cubicBezTo>
                    <a:pt x="409" y="0"/>
                    <a:pt x="409" y="0"/>
                    <a:pt x="409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92">
              <a:extLst>
                <a:ext uri="{FF2B5EF4-FFF2-40B4-BE49-F238E27FC236}">
                  <a16:creationId xmlns:a16="http://schemas.microsoft.com/office/drawing/2014/main" xmlns="" id="{1E4FE5A9-3614-4976-BB1F-9CB615775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276" y="5430835"/>
              <a:ext cx="174625" cy="284163"/>
            </a:xfrm>
            <a:custGeom>
              <a:avLst/>
              <a:gdLst>
                <a:gd name="T0" fmla="*/ 409 w 409"/>
                <a:gd name="T1" fmla="*/ 669 h 669"/>
                <a:gd name="T2" fmla="*/ 409 w 409"/>
                <a:gd name="T3" fmla="*/ 191 h 669"/>
                <a:gd name="T4" fmla="*/ 218 w 409"/>
                <a:gd name="T5" fmla="*/ 0 h 669"/>
                <a:gd name="T6" fmla="*/ 0 w 409"/>
                <a:gd name="T7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669">
                  <a:moveTo>
                    <a:pt x="409" y="669"/>
                  </a:moveTo>
                  <a:cubicBezTo>
                    <a:pt x="409" y="191"/>
                    <a:pt x="409" y="191"/>
                    <a:pt x="409" y="191"/>
                  </a:cubicBezTo>
                  <a:cubicBezTo>
                    <a:pt x="409" y="86"/>
                    <a:pt x="323" y="0"/>
                    <a:pt x="21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94">
              <a:extLst>
                <a:ext uri="{FF2B5EF4-FFF2-40B4-BE49-F238E27FC236}">
                  <a16:creationId xmlns:a16="http://schemas.microsoft.com/office/drawing/2014/main" xmlns="" id="{8E3CD352-68AF-4D6B-9F5B-DE7EE34A4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3851" y="5280022"/>
              <a:ext cx="104775" cy="25400"/>
            </a:xfrm>
            <a:custGeom>
              <a:avLst/>
              <a:gdLst>
                <a:gd name="T0" fmla="*/ 0 w 243"/>
                <a:gd name="T1" fmla="*/ 0 h 59"/>
                <a:gd name="T2" fmla="*/ 122 w 243"/>
                <a:gd name="T3" fmla="*/ 59 h 59"/>
                <a:gd name="T4" fmla="*/ 243 w 243"/>
                <a:gd name="T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3" h="59">
                  <a:moveTo>
                    <a:pt x="0" y="0"/>
                  </a:moveTo>
                  <a:cubicBezTo>
                    <a:pt x="28" y="36"/>
                    <a:pt x="72" y="59"/>
                    <a:pt x="122" y="59"/>
                  </a:cubicBezTo>
                  <a:cubicBezTo>
                    <a:pt x="171" y="59"/>
                    <a:pt x="215" y="36"/>
                    <a:pt x="243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95">
              <a:extLst>
                <a:ext uri="{FF2B5EF4-FFF2-40B4-BE49-F238E27FC236}">
                  <a16:creationId xmlns:a16="http://schemas.microsoft.com/office/drawing/2014/main" xmlns="" id="{17706AD8-2384-47F2-9938-E5B6CD02C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738" y="5426072"/>
              <a:ext cx="177800" cy="282575"/>
            </a:xfrm>
            <a:custGeom>
              <a:avLst/>
              <a:gdLst>
                <a:gd name="T0" fmla="*/ 419 w 419"/>
                <a:gd name="T1" fmla="*/ 662 h 662"/>
                <a:gd name="T2" fmla="*/ 419 w 419"/>
                <a:gd name="T3" fmla="*/ 611 h 662"/>
                <a:gd name="T4" fmla="*/ 223 w 419"/>
                <a:gd name="T5" fmla="*/ 0 h 662"/>
                <a:gd name="T6" fmla="*/ 0 w 419"/>
                <a:gd name="T7" fmla="*/ 0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662">
                  <a:moveTo>
                    <a:pt x="419" y="662"/>
                  </a:moveTo>
                  <a:cubicBezTo>
                    <a:pt x="419" y="611"/>
                    <a:pt x="419" y="611"/>
                    <a:pt x="419" y="611"/>
                  </a:cubicBezTo>
                  <a:cubicBezTo>
                    <a:pt x="419" y="503"/>
                    <a:pt x="331" y="0"/>
                    <a:pt x="22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96">
              <a:extLst>
                <a:ext uri="{FF2B5EF4-FFF2-40B4-BE49-F238E27FC236}">
                  <a16:creationId xmlns:a16="http://schemas.microsoft.com/office/drawing/2014/main" xmlns="" id="{03995FA9-0199-4D56-BFDF-796FA6E1C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938" y="5426072"/>
              <a:ext cx="177800" cy="282575"/>
            </a:xfrm>
            <a:custGeom>
              <a:avLst/>
              <a:gdLst>
                <a:gd name="T0" fmla="*/ 0 w 418"/>
                <a:gd name="T1" fmla="*/ 662 h 662"/>
                <a:gd name="T2" fmla="*/ 0 w 418"/>
                <a:gd name="T3" fmla="*/ 611 h 662"/>
                <a:gd name="T4" fmla="*/ 195 w 418"/>
                <a:gd name="T5" fmla="*/ 0 h 662"/>
                <a:gd name="T6" fmla="*/ 418 w 418"/>
                <a:gd name="T7" fmla="*/ 0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8" h="662">
                  <a:moveTo>
                    <a:pt x="0" y="662"/>
                  </a:moveTo>
                  <a:cubicBezTo>
                    <a:pt x="0" y="611"/>
                    <a:pt x="0" y="611"/>
                    <a:pt x="0" y="611"/>
                  </a:cubicBezTo>
                  <a:cubicBezTo>
                    <a:pt x="0" y="503"/>
                    <a:pt x="87" y="0"/>
                    <a:pt x="195" y="0"/>
                  </a:cubicBezTo>
                  <a:cubicBezTo>
                    <a:pt x="418" y="0"/>
                    <a:pt x="418" y="0"/>
                    <a:pt x="418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97">
              <a:extLst>
                <a:ext uri="{FF2B5EF4-FFF2-40B4-BE49-F238E27FC236}">
                  <a16:creationId xmlns:a16="http://schemas.microsoft.com/office/drawing/2014/main" xmlns="" id="{498AC381-E7C3-49DF-A174-4665968E0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2738" y="5353047"/>
              <a:ext cx="127000" cy="107950"/>
            </a:xfrm>
            <a:custGeom>
              <a:avLst/>
              <a:gdLst>
                <a:gd name="T0" fmla="*/ 295 w 295"/>
                <a:gd name="T1" fmla="*/ 0 h 254"/>
                <a:gd name="T2" fmla="*/ 295 w 295"/>
                <a:gd name="T3" fmla="*/ 173 h 254"/>
                <a:gd name="T4" fmla="*/ 0 w 295"/>
                <a:gd name="T5" fmla="*/ 173 h 254"/>
                <a:gd name="T6" fmla="*/ 0 w 295"/>
                <a:gd name="T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5" h="254">
                  <a:moveTo>
                    <a:pt x="295" y="0"/>
                  </a:moveTo>
                  <a:cubicBezTo>
                    <a:pt x="295" y="173"/>
                    <a:pt x="295" y="173"/>
                    <a:pt x="295" y="173"/>
                  </a:cubicBezTo>
                  <a:cubicBezTo>
                    <a:pt x="214" y="254"/>
                    <a:pt x="82" y="254"/>
                    <a:pt x="0" y="17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Oval 298">
              <a:extLst>
                <a:ext uri="{FF2B5EF4-FFF2-40B4-BE49-F238E27FC236}">
                  <a16:creationId xmlns:a16="http://schemas.microsoft.com/office/drawing/2014/main" xmlns="" id="{7051CEDE-53D8-4F0E-B56C-9C10A45E0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3051" y="5146672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Oval 299">
              <a:extLst>
                <a:ext uri="{FF2B5EF4-FFF2-40B4-BE49-F238E27FC236}">
                  <a16:creationId xmlns:a16="http://schemas.microsoft.com/office/drawing/2014/main" xmlns="" id="{69B11C00-4EB7-4475-AD5D-AD173746B3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36088" y="5146672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300">
              <a:extLst>
                <a:ext uri="{FF2B5EF4-FFF2-40B4-BE49-F238E27FC236}">
                  <a16:creationId xmlns:a16="http://schemas.microsoft.com/office/drawing/2014/main" xmlns="" id="{67716B00-AD0A-48AA-9D04-4408E5E66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20188" y="5114922"/>
              <a:ext cx="114300" cy="101600"/>
            </a:xfrm>
            <a:prstGeom prst="rect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301">
              <a:extLst>
                <a:ext uri="{FF2B5EF4-FFF2-40B4-BE49-F238E27FC236}">
                  <a16:creationId xmlns:a16="http://schemas.microsoft.com/office/drawing/2014/main" xmlns="" id="{F9C740BD-48B8-490E-AB6D-B5CC4C839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7988" y="5114922"/>
              <a:ext cx="114300" cy="101600"/>
            </a:xfrm>
            <a:prstGeom prst="rect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02">
              <a:extLst>
                <a:ext uri="{FF2B5EF4-FFF2-40B4-BE49-F238E27FC236}">
                  <a16:creationId xmlns:a16="http://schemas.microsoft.com/office/drawing/2014/main" xmlns="" id="{63A145FA-AB41-4A64-A45B-286E38F19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4488" y="5132385"/>
              <a:ext cx="63500" cy="20638"/>
            </a:xfrm>
            <a:custGeom>
              <a:avLst/>
              <a:gdLst>
                <a:gd name="T0" fmla="*/ 0 w 147"/>
                <a:gd name="T1" fmla="*/ 50 h 50"/>
                <a:gd name="T2" fmla="*/ 147 w 147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7" h="50">
                  <a:moveTo>
                    <a:pt x="0" y="50"/>
                  </a:moveTo>
                  <a:cubicBezTo>
                    <a:pt x="37" y="0"/>
                    <a:pt x="111" y="0"/>
                    <a:pt x="147" y="5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03">
              <a:extLst>
                <a:ext uri="{FF2B5EF4-FFF2-40B4-BE49-F238E27FC236}">
                  <a16:creationId xmlns:a16="http://schemas.microsoft.com/office/drawing/2014/main" xmlns="" id="{ACB7B71C-B129-48E7-8AAB-153115DD5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13" y="4933947"/>
              <a:ext cx="98425" cy="57150"/>
            </a:xfrm>
            <a:custGeom>
              <a:avLst/>
              <a:gdLst>
                <a:gd name="T0" fmla="*/ 234 w 234"/>
                <a:gd name="T1" fmla="*/ 0 h 135"/>
                <a:gd name="T2" fmla="*/ 0 w 234"/>
                <a:gd name="T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4" h="135">
                  <a:moveTo>
                    <a:pt x="234" y="0"/>
                  </a:moveTo>
                  <a:cubicBezTo>
                    <a:pt x="134" y="0"/>
                    <a:pt x="47" y="54"/>
                    <a:pt x="0" y="135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04">
              <a:extLst>
                <a:ext uri="{FF2B5EF4-FFF2-40B4-BE49-F238E27FC236}">
                  <a16:creationId xmlns:a16="http://schemas.microsoft.com/office/drawing/2014/main" xmlns="" id="{3A7D05ED-4491-4F2A-8D59-9429554A1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5576" y="4892672"/>
              <a:ext cx="441325" cy="530225"/>
            </a:xfrm>
            <a:custGeom>
              <a:avLst/>
              <a:gdLst>
                <a:gd name="T0" fmla="*/ 883 w 1034"/>
                <a:gd name="T1" fmla="*/ 1246 h 1246"/>
                <a:gd name="T2" fmla="*/ 1034 w 1034"/>
                <a:gd name="T3" fmla="*/ 1005 h 1246"/>
                <a:gd name="T4" fmla="*/ 1034 w 1034"/>
                <a:gd name="T5" fmla="*/ 520 h 1246"/>
                <a:gd name="T6" fmla="*/ 664 w 1034"/>
                <a:gd name="T7" fmla="*/ 0 h 1246"/>
                <a:gd name="T8" fmla="*/ 517 w 1034"/>
                <a:gd name="T9" fmla="*/ 0 h 1246"/>
                <a:gd name="T10" fmla="*/ 369 w 1034"/>
                <a:gd name="T11" fmla="*/ 0 h 1246"/>
                <a:gd name="T12" fmla="*/ 0 w 1034"/>
                <a:gd name="T13" fmla="*/ 520 h 1246"/>
                <a:gd name="T14" fmla="*/ 0 w 1034"/>
                <a:gd name="T15" fmla="*/ 1005 h 1246"/>
                <a:gd name="T16" fmla="*/ 151 w 1034"/>
                <a:gd name="T17" fmla="*/ 124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4" h="1246">
                  <a:moveTo>
                    <a:pt x="883" y="1246"/>
                  </a:moveTo>
                  <a:cubicBezTo>
                    <a:pt x="968" y="1231"/>
                    <a:pt x="1034" y="1129"/>
                    <a:pt x="1034" y="1005"/>
                  </a:cubicBezTo>
                  <a:cubicBezTo>
                    <a:pt x="1034" y="520"/>
                    <a:pt x="1034" y="520"/>
                    <a:pt x="1034" y="520"/>
                  </a:cubicBezTo>
                  <a:cubicBezTo>
                    <a:pt x="1034" y="233"/>
                    <a:pt x="868" y="0"/>
                    <a:pt x="664" y="0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165" y="0"/>
                    <a:pt x="0" y="233"/>
                    <a:pt x="0" y="520"/>
                  </a:cubicBezTo>
                  <a:cubicBezTo>
                    <a:pt x="0" y="1005"/>
                    <a:pt x="0" y="1005"/>
                    <a:pt x="0" y="1005"/>
                  </a:cubicBezTo>
                  <a:cubicBezTo>
                    <a:pt x="0" y="1129"/>
                    <a:pt x="66" y="1231"/>
                    <a:pt x="151" y="1246"/>
                  </a:cubicBezTo>
                </a:path>
              </a:pathLst>
            </a:custGeom>
            <a:noFill/>
            <a:ln w="19050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05">
              <a:extLst>
                <a:ext uri="{FF2B5EF4-FFF2-40B4-BE49-F238E27FC236}">
                  <a16:creationId xmlns:a16="http://schemas.microsoft.com/office/drawing/2014/main" xmlns="" id="{49CD1359-2634-413F-8D11-6DDDC1175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9263" y="5049835"/>
              <a:ext cx="104775" cy="93663"/>
            </a:xfrm>
            <a:custGeom>
              <a:avLst/>
              <a:gdLst>
                <a:gd name="T0" fmla="*/ 246 w 246"/>
                <a:gd name="T1" fmla="*/ 222 h 222"/>
                <a:gd name="T2" fmla="*/ 25 w 246"/>
                <a:gd name="T3" fmla="*/ 0 h 222"/>
                <a:gd name="T4" fmla="*/ 0 w 246"/>
                <a:gd name="T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6" h="222">
                  <a:moveTo>
                    <a:pt x="246" y="222"/>
                  </a:moveTo>
                  <a:cubicBezTo>
                    <a:pt x="246" y="74"/>
                    <a:pt x="147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6">
              <a:extLst>
                <a:ext uri="{FF2B5EF4-FFF2-40B4-BE49-F238E27FC236}">
                  <a16:creationId xmlns:a16="http://schemas.microsoft.com/office/drawing/2014/main" xmlns="" id="{06AF86A7-099A-47A2-889F-AE86C4E72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8438" y="5143497"/>
              <a:ext cx="355600" cy="220663"/>
            </a:xfrm>
            <a:custGeom>
              <a:avLst/>
              <a:gdLst>
                <a:gd name="T0" fmla="*/ 0 w 837"/>
                <a:gd name="T1" fmla="*/ 0 h 517"/>
                <a:gd name="T2" fmla="*/ 0 w 837"/>
                <a:gd name="T3" fmla="*/ 74 h 517"/>
                <a:gd name="T4" fmla="*/ 419 w 837"/>
                <a:gd name="T5" fmla="*/ 517 h 517"/>
                <a:gd name="T6" fmla="*/ 419 w 837"/>
                <a:gd name="T7" fmla="*/ 517 h 517"/>
                <a:gd name="T8" fmla="*/ 419 w 837"/>
                <a:gd name="T9" fmla="*/ 517 h 517"/>
                <a:gd name="T10" fmla="*/ 837 w 837"/>
                <a:gd name="T11" fmla="*/ 74 h 517"/>
                <a:gd name="T12" fmla="*/ 837 w 837"/>
                <a:gd name="T13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17">
                  <a:moveTo>
                    <a:pt x="0" y="0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319"/>
                    <a:pt x="174" y="517"/>
                    <a:pt x="419" y="517"/>
                  </a:cubicBezTo>
                  <a:cubicBezTo>
                    <a:pt x="419" y="517"/>
                    <a:pt x="419" y="517"/>
                    <a:pt x="419" y="517"/>
                  </a:cubicBezTo>
                  <a:cubicBezTo>
                    <a:pt x="419" y="517"/>
                    <a:pt x="419" y="517"/>
                    <a:pt x="419" y="517"/>
                  </a:cubicBezTo>
                  <a:cubicBezTo>
                    <a:pt x="663" y="517"/>
                    <a:pt x="837" y="319"/>
                    <a:pt x="837" y="74"/>
                  </a:cubicBezTo>
                  <a:cubicBezTo>
                    <a:pt x="837" y="0"/>
                    <a:pt x="837" y="0"/>
                    <a:pt x="837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07">
              <a:extLst>
                <a:ext uri="{FF2B5EF4-FFF2-40B4-BE49-F238E27FC236}">
                  <a16:creationId xmlns:a16="http://schemas.microsoft.com/office/drawing/2014/main" xmlns="" id="{E9A29024-43C5-4A1E-972C-CABE2F227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8438" y="4905372"/>
              <a:ext cx="303213" cy="238125"/>
            </a:xfrm>
            <a:custGeom>
              <a:avLst/>
              <a:gdLst>
                <a:gd name="T0" fmla="*/ 713 w 713"/>
                <a:gd name="T1" fmla="*/ 0 h 561"/>
                <a:gd name="T2" fmla="*/ 345 w 713"/>
                <a:gd name="T3" fmla="*/ 339 h 561"/>
                <a:gd name="T4" fmla="*/ 222 w 713"/>
                <a:gd name="T5" fmla="*/ 339 h 561"/>
                <a:gd name="T6" fmla="*/ 0 w 713"/>
                <a:gd name="T7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3" h="561">
                  <a:moveTo>
                    <a:pt x="713" y="0"/>
                  </a:moveTo>
                  <a:cubicBezTo>
                    <a:pt x="698" y="190"/>
                    <a:pt x="539" y="339"/>
                    <a:pt x="345" y="339"/>
                  </a:cubicBezTo>
                  <a:cubicBezTo>
                    <a:pt x="222" y="339"/>
                    <a:pt x="222" y="339"/>
                    <a:pt x="222" y="339"/>
                  </a:cubicBezTo>
                  <a:cubicBezTo>
                    <a:pt x="99" y="339"/>
                    <a:pt x="0" y="413"/>
                    <a:pt x="0" y="561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Line 308">
              <a:extLst>
                <a:ext uri="{FF2B5EF4-FFF2-40B4-BE49-F238E27FC236}">
                  <a16:creationId xmlns:a16="http://schemas.microsoft.com/office/drawing/2014/main" xmlns="" id="{2D0416C0-DCAE-415B-8CD7-0AC4C4D256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99588" y="5561010"/>
              <a:ext cx="26988" cy="155575"/>
            </a:xfrm>
            <a:prstGeom prst="line">
              <a:avLst/>
            </a:prstGeom>
            <a:noFill/>
            <a:ln w="1428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09">
              <a:extLst>
                <a:ext uri="{FF2B5EF4-FFF2-40B4-BE49-F238E27FC236}">
                  <a16:creationId xmlns:a16="http://schemas.microsoft.com/office/drawing/2014/main" xmlns="" id="{D708A5A0-4E0B-4C25-BE24-E0200658E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13" y="5437185"/>
              <a:ext cx="360363" cy="293688"/>
            </a:xfrm>
            <a:custGeom>
              <a:avLst/>
              <a:gdLst>
                <a:gd name="T0" fmla="*/ 11 w 227"/>
                <a:gd name="T1" fmla="*/ 82 h 185"/>
                <a:gd name="T2" fmla="*/ 144 w 227"/>
                <a:gd name="T3" fmla="*/ 1 h 185"/>
                <a:gd name="T4" fmla="*/ 207 w 227"/>
                <a:gd name="T5" fmla="*/ 0 h 185"/>
                <a:gd name="T6" fmla="*/ 227 w 227"/>
                <a:gd name="T7" fmla="*/ 29 h 185"/>
                <a:gd name="T8" fmla="*/ 83 w 227"/>
                <a:gd name="T9" fmla="*/ 185 h 185"/>
                <a:gd name="T10" fmla="*/ 0 w 227"/>
                <a:gd name="T11" fmla="*/ 183 h 185"/>
                <a:gd name="T12" fmla="*/ 11 w 227"/>
                <a:gd name="T13" fmla="*/ 8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7" h="185">
                  <a:moveTo>
                    <a:pt x="11" y="82"/>
                  </a:moveTo>
                  <a:lnTo>
                    <a:pt x="144" y="1"/>
                  </a:lnTo>
                  <a:lnTo>
                    <a:pt x="207" y="0"/>
                  </a:lnTo>
                  <a:lnTo>
                    <a:pt x="227" y="29"/>
                  </a:lnTo>
                  <a:lnTo>
                    <a:pt x="83" y="185"/>
                  </a:lnTo>
                  <a:lnTo>
                    <a:pt x="0" y="183"/>
                  </a:lnTo>
                  <a:lnTo>
                    <a:pt x="11" y="82"/>
                  </a:lnTo>
                  <a:close/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xmlns="" id="{0B8D15DD-8853-4467-9629-B114EFE74785}"/>
              </a:ext>
            </a:extLst>
          </p:cNvPr>
          <p:cNvGrpSpPr/>
          <p:nvPr/>
        </p:nvGrpSpPr>
        <p:grpSpPr>
          <a:xfrm>
            <a:off x="10334129" y="5106543"/>
            <a:ext cx="1063645" cy="733504"/>
            <a:chOff x="10347576" y="4886328"/>
            <a:chExt cx="1063645" cy="733504"/>
          </a:xfrm>
        </p:grpSpPr>
        <p:sp>
          <p:nvSpPr>
            <p:cNvPr id="103" name="Freeform 313">
              <a:extLst>
                <a:ext uri="{FF2B5EF4-FFF2-40B4-BE49-F238E27FC236}">
                  <a16:creationId xmlns:a16="http://schemas.microsoft.com/office/drawing/2014/main" xmlns="" id="{66005474-22AC-4537-8E61-7DBE7A853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7576" y="5240876"/>
              <a:ext cx="506131" cy="376386"/>
            </a:xfrm>
            <a:custGeom>
              <a:avLst/>
              <a:gdLst>
                <a:gd name="T0" fmla="*/ 1273 w 1273"/>
                <a:gd name="T1" fmla="*/ 484 h 948"/>
                <a:gd name="T2" fmla="*/ 1273 w 1273"/>
                <a:gd name="T3" fmla="*/ 948 h 948"/>
                <a:gd name="T4" fmla="*/ 0 w 1273"/>
                <a:gd name="T5" fmla="*/ 948 h 948"/>
                <a:gd name="T6" fmla="*/ 0 w 1273"/>
                <a:gd name="T7" fmla="*/ 484 h 948"/>
                <a:gd name="T8" fmla="*/ 250 w 1273"/>
                <a:gd name="T9" fmla="*/ 201 h 948"/>
                <a:gd name="T10" fmla="*/ 332 w 1273"/>
                <a:gd name="T11" fmla="*/ 190 h 948"/>
                <a:gd name="T12" fmla="*/ 332 w 1273"/>
                <a:gd name="T13" fmla="*/ 190 h 948"/>
                <a:gd name="T14" fmla="*/ 332 w 1273"/>
                <a:gd name="T15" fmla="*/ 191 h 948"/>
                <a:gd name="T16" fmla="*/ 332 w 1273"/>
                <a:gd name="T17" fmla="*/ 191 h 948"/>
                <a:gd name="T18" fmla="*/ 470 w 1273"/>
                <a:gd name="T19" fmla="*/ 419 h 948"/>
                <a:gd name="T20" fmla="*/ 637 w 1273"/>
                <a:gd name="T21" fmla="*/ 295 h 948"/>
                <a:gd name="T22" fmla="*/ 426 w 1273"/>
                <a:gd name="T23" fmla="*/ 116 h 948"/>
                <a:gd name="T24" fmla="*/ 433 w 1273"/>
                <a:gd name="T25" fmla="*/ 83 h 948"/>
                <a:gd name="T26" fmla="*/ 439 w 1273"/>
                <a:gd name="T27" fmla="*/ 0 h 948"/>
                <a:gd name="T28" fmla="*/ 637 w 1273"/>
                <a:gd name="T29" fmla="*/ 117 h 948"/>
                <a:gd name="T30" fmla="*/ 834 w 1273"/>
                <a:gd name="T31" fmla="*/ 0 h 948"/>
                <a:gd name="T32" fmla="*/ 840 w 1273"/>
                <a:gd name="T33" fmla="*/ 83 h 948"/>
                <a:gd name="T34" fmla="*/ 848 w 1273"/>
                <a:gd name="T35" fmla="*/ 116 h 948"/>
                <a:gd name="T36" fmla="*/ 637 w 1273"/>
                <a:gd name="T37" fmla="*/ 295 h 948"/>
                <a:gd name="T38" fmla="*/ 803 w 1273"/>
                <a:gd name="T39" fmla="*/ 419 h 948"/>
                <a:gd name="T40" fmla="*/ 942 w 1273"/>
                <a:gd name="T41" fmla="*/ 191 h 948"/>
                <a:gd name="T42" fmla="*/ 942 w 1273"/>
                <a:gd name="T43" fmla="*/ 191 h 948"/>
                <a:gd name="T44" fmla="*/ 941 w 1273"/>
                <a:gd name="T45" fmla="*/ 190 h 948"/>
                <a:gd name="T46" fmla="*/ 942 w 1273"/>
                <a:gd name="T47" fmla="*/ 190 h 948"/>
                <a:gd name="T48" fmla="*/ 1024 w 1273"/>
                <a:gd name="T49" fmla="*/ 201 h 948"/>
                <a:gd name="T50" fmla="*/ 1273 w 1273"/>
                <a:gd name="T51" fmla="*/ 484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73" h="948">
                  <a:moveTo>
                    <a:pt x="1273" y="484"/>
                  </a:moveTo>
                  <a:cubicBezTo>
                    <a:pt x="1273" y="948"/>
                    <a:pt x="1273" y="948"/>
                    <a:pt x="1273" y="948"/>
                  </a:cubicBezTo>
                  <a:cubicBezTo>
                    <a:pt x="0" y="948"/>
                    <a:pt x="0" y="948"/>
                    <a:pt x="0" y="948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0" y="340"/>
                    <a:pt x="107" y="219"/>
                    <a:pt x="250" y="201"/>
                  </a:cubicBezTo>
                  <a:cubicBezTo>
                    <a:pt x="332" y="190"/>
                    <a:pt x="332" y="190"/>
                    <a:pt x="332" y="190"/>
                  </a:cubicBezTo>
                  <a:cubicBezTo>
                    <a:pt x="332" y="190"/>
                    <a:pt x="332" y="190"/>
                    <a:pt x="332" y="190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470" y="419"/>
                    <a:pt x="470" y="419"/>
                    <a:pt x="470" y="419"/>
                  </a:cubicBezTo>
                  <a:cubicBezTo>
                    <a:pt x="637" y="295"/>
                    <a:pt x="637" y="295"/>
                    <a:pt x="637" y="295"/>
                  </a:cubicBezTo>
                  <a:cubicBezTo>
                    <a:pt x="426" y="116"/>
                    <a:pt x="426" y="116"/>
                    <a:pt x="426" y="116"/>
                  </a:cubicBezTo>
                  <a:cubicBezTo>
                    <a:pt x="430" y="106"/>
                    <a:pt x="432" y="95"/>
                    <a:pt x="433" y="83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94" y="71"/>
                    <a:pt x="563" y="117"/>
                    <a:pt x="637" y="117"/>
                  </a:cubicBezTo>
                  <a:cubicBezTo>
                    <a:pt x="711" y="117"/>
                    <a:pt x="779" y="71"/>
                    <a:pt x="834" y="0"/>
                  </a:cubicBezTo>
                  <a:cubicBezTo>
                    <a:pt x="840" y="83"/>
                    <a:pt x="840" y="83"/>
                    <a:pt x="840" y="83"/>
                  </a:cubicBezTo>
                  <a:cubicBezTo>
                    <a:pt x="841" y="95"/>
                    <a:pt x="844" y="106"/>
                    <a:pt x="848" y="116"/>
                  </a:cubicBezTo>
                  <a:cubicBezTo>
                    <a:pt x="637" y="295"/>
                    <a:pt x="637" y="295"/>
                    <a:pt x="637" y="295"/>
                  </a:cubicBezTo>
                  <a:cubicBezTo>
                    <a:pt x="803" y="419"/>
                    <a:pt x="803" y="419"/>
                    <a:pt x="803" y="419"/>
                  </a:cubicBezTo>
                  <a:cubicBezTo>
                    <a:pt x="942" y="191"/>
                    <a:pt x="942" y="191"/>
                    <a:pt x="942" y="191"/>
                  </a:cubicBezTo>
                  <a:cubicBezTo>
                    <a:pt x="942" y="191"/>
                    <a:pt x="942" y="191"/>
                    <a:pt x="942" y="191"/>
                  </a:cubicBezTo>
                  <a:cubicBezTo>
                    <a:pt x="941" y="190"/>
                    <a:pt x="941" y="190"/>
                    <a:pt x="941" y="190"/>
                  </a:cubicBezTo>
                  <a:cubicBezTo>
                    <a:pt x="942" y="190"/>
                    <a:pt x="942" y="190"/>
                    <a:pt x="942" y="190"/>
                  </a:cubicBezTo>
                  <a:cubicBezTo>
                    <a:pt x="1024" y="201"/>
                    <a:pt x="1024" y="201"/>
                    <a:pt x="1024" y="201"/>
                  </a:cubicBezTo>
                  <a:cubicBezTo>
                    <a:pt x="1167" y="219"/>
                    <a:pt x="1273" y="340"/>
                    <a:pt x="1273" y="484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14">
              <a:extLst>
                <a:ext uri="{FF2B5EF4-FFF2-40B4-BE49-F238E27FC236}">
                  <a16:creationId xmlns:a16="http://schemas.microsoft.com/office/drawing/2014/main" xmlns="" id="{8E5D6556-A750-4871-A796-4180F29A4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8605" y="4940281"/>
              <a:ext cx="245358" cy="346841"/>
            </a:xfrm>
            <a:custGeom>
              <a:avLst/>
              <a:gdLst>
                <a:gd name="T0" fmla="*/ 620 w 620"/>
                <a:gd name="T1" fmla="*/ 501 h 871"/>
                <a:gd name="T2" fmla="*/ 620 w 620"/>
                <a:gd name="T3" fmla="*/ 501 h 871"/>
                <a:gd name="T4" fmla="*/ 618 w 620"/>
                <a:gd name="T5" fmla="*/ 508 h 871"/>
                <a:gd name="T6" fmla="*/ 617 w 620"/>
                <a:gd name="T7" fmla="*/ 515 h 871"/>
                <a:gd name="T8" fmla="*/ 615 w 620"/>
                <a:gd name="T9" fmla="*/ 522 h 871"/>
                <a:gd name="T10" fmla="*/ 611 w 620"/>
                <a:gd name="T11" fmla="*/ 538 h 871"/>
                <a:gd name="T12" fmla="*/ 507 w 620"/>
                <a:gd name="T13" fmla="*/ 754 h 871"/>
                <a:gd name="T14" fmla="*/ 310 w 620"/>
                <a:gd name="T15" fmla="*/ 871 h 871"/>
                <a:gd name="T16" fmla="*/ 112 w 620"/>
                <a:gd name="T17" fmla="*/ 754 h 871"/>
                <a:gd name="T18" fmla="*/ 9 w 620"/>
                <a:gd name="T19" fmla="*/ 539 h 871"/>
                <a:gd name="T20" fmla="*/ 0 w 620"/>
                <a:gd name="T21" fmla="*/ 501 h 871"/>
                <a:gd name="T22" fmla="*/ 71 w 620"/>
                <a:gd name="T23" fmla="*/ 223 h 871"/>
                <a:gd name="T24" fmla="*/ 38 w 620"/>
                <a:gd name="T25" fmla="*/ 141 h 871"/>
                <a:gd name="T26" fmla="*/ 310 w 620"/>
                <a:gd name="T27" fmla="*/ 0 h 871"/>
                <a:gd name="T28" fmla="*/ 581 w 620"/>
                <a:gd name="T29" fmla="*/ 141 h 871"/>
                <a:gd name="T30" fmla="*/ 548 w 620"/>
                <a:gd name="T31" fmla="*/ 223 h 871"/>
                <a:gd name="T32" fmla="*/ 620 w 620"/>
                <a:gd name="T33" fmla="*/ 50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20" h="871">
                  <a:moveTo>
                    <a:pt x="620" y="501"/>
                  </a:moveTo>
                  <a:cubicBezTo>
                    <a:pt x="620" y="501"/>
                    <a:pt x="620" y="501"/>
                    <a:pt x="620" y="501"/>
                  </a:cubicBezTo>
                  <a:cubicBezTo>
                    <a:pt x="619" y="503"/>
                    <a:pt x="619" y="505"/>
                    <a:pt x="618" y="508"/>
                  </a:cubicBezTo>
                  <a:cubicBezTo>
                    <a:pt x="618" y="510"/>
                    <a:pt x="617" y="513"/>
                    <a:pt x="617" y="515"/>
                  </a:cubicBezTo>
                  <a:cubicBezTo>
                    <a:pt x="616" y="518"/>
                    <a:pt x="615" y="520"/>
                    <a:pt x="615" y="522"/>
                  </a:cubicBezTo>
                  <a:cubicBezTo>
                    <a:pt x="614" y="528"/>
                    <a:pt x="612" y="533"/>
                    <a:pt x="611" y="538"/>
                  </a:cubicBezTo>
                  <a:cubicBezTo>
                    <a:pt x="588" y="619"/>
                    <a:pt x="552" y="695"/>
                    <a:pt x="507" y="754"/>
                  </a:cubicBezTo>
                  <a:cubicBezTo>
                    <a:pt x="452" y="825"/>
                    <a:pt x="384" y="871"/>
                    <a:pt x="310" y="871"/>
                  </a:cubicBezTo>
                  <a:cubicBezTo>
                    <a:pt x="236" y="871"/>
                    <a:pt x="167" y="825"/>
                    <a:pt x="112" y="754"/>
                  </a:cubicBezTo>
                  <a:cubicBezTo>
                    <a:pt x="67" y="695"/>
                    <a:pt x="31" y="619"/>
                    <a:pt x="9" y="539"/>
                  </a:cubicBezTo>
                  <a:cubicBezTo>
                    <a:pt x="6" y="526"/>
                    <a:pt x="2" y="513"/>
                    <a:pt x="0" y="501"/>
                  </a:cubicBezTo>
                  <a:cubicBezTo>
                    <a:pt x="71" y="223"/>
                    <a:pt x="71" y="223"/>
                    <a:pt x="71" y="223"/>
                  </a:cubicBezTo>
                  <a:cubicBezTo>
                    <a:pt x="80" y="188"/>
                    <a:pt x="64" y="157"/>
                    <a:pt x="38" y="141"/>
                  </a:cubicBezTo>
                  <a:cubicBezTo>
                    <a:pt x="97" y="46"/>
                    <a:pt x="197" y="0"/>
                    <a:pt x="310" y="0"/>
                  </a:cubicBezTo>
                  <a:cubicBezTo>
                    <a:pt x="423" y="0"/>
                    <a:pt x="523" y="46"/>
                    <a:pt x="581" y="141"/>
                  </a:cubicBezTo>
                  <a:cubicBezTo>
                    <a:pt x="556" y="157"/>
                    <a:pt x="539" y="188"/>
                    <a:pt x="548" y="223"/>
                  </a:cubicBezTo>
                  <a:lnTo>
                    <a:pt x="620" y="501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15">
              <a:extLst>
                <a:ext uri="{FF2B5EF4-FFF2-40B4-BE49-F238E27FC236}">
                  <a16:creationId xmlns:a16="http://schemas.microsoft.com/office/drawing/2014/main" xmlns="" id="{2058B052-DD8A-4517-85F3-BA593167B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0344" y="5108563"/>
              <a:ext cx="30830" cy="47530"/>
            </a:xfrm>
            <a:custGeom>
              <a:avLst/>
              <a:gdLst>
                <a:gd name="T0" fmla="*/ 80 w 80"/>
                <a:gd name="T1" fmla="*/ 118 h 120"/>
                <a:gd name="T2" fmla="*/ 63 w 80"/>
                <a:gd name="T3" fmla="*/ 120 h 120"/>
                <a:gd name="T4" fmla="*/ 0 w 80"/>
                <a:gd name="T5" fmla="*/ 56 h 120"/>
                <a:gd name="T6" fmla="*/ 34 w 80"/>
                <a:gd name="T7" fmla="*/ 0 h 120"/>
                <a:gd name="T8" fmla="*/ 71 w 80"/>
                <a:gd name="T9" fmla="*/ 80 h 120"/>
                <a:gd name="T10" fmla="*/ 71 w 80"/>
                <a:gd name="T11" fmla="*/ 80 h 120"/>
                <a:gd name="T12" fmla="*/ 80 w 80"/>
                <a:gd name="T13" fmla="*/ 11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20">
                  <a:moveTo>
                    <a:pt x="80" y="118"/>
                  </a:moveTo>
                  <a:cubicBezTo>
                    <a:pt x="75" y="119"/>
                    <a:pt x="69" y="120"/>
                    <a:pt x="63" y="120"/>
                  </a:cubicBezTo>
                  <a:cubicBezTo>
                    <a:pt x="29" y="120"/>
                    <a:pt x="0" y="91"/>
                    <a:pt x="0" y="56"/>
                  </a:cubicBezTo>
                  <a:cubicBezTo>
                    <a:pt x="0" y="32"/>
                    <a:pt x="14" y="10"/>
                    <a:pt x="34" y="0"/>
                  </a:cubicBezTo>
                  <a:cubicBezTo>
                    <a:pt x="44" y="25"/>
                    <a:pt x="56" y="52"/>
                    <a:pt x="71" y="80"/>
                  </a:cubicBezTo>
                  <a:cubicBezTo>
                    <a:pt x="71" y="80"/>
                    <a:pt x="71" y="80"/>
                    <a:pt x="71" y="80"/>
                  </a:cubicBezTo>
                  <a:cubicBezTo>
                    <a:pt x="73" y="92"/>
                    <a:pt x="77" y="105"/>
                    <a:pt x="80" y="11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17">
              <a:extLst>
                <a:ext uri="{FF2B5EF4-FFF2-40B4-BE49-F238E27FC236}">
                  <a16:creationId xmlns:a16="http://schemas.microsoft.com/office/drawing/2014/main" xmlns="" id="{1D1E2591-DE9C-408D-863A-A408CBC9D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3921" y="4990380"/>
              <a:ext cx="65514" cy="149013"/>
            </a:xfrm>
            <a:custGeom>
              <a:avLst/>
              <a:gdLst>
                <a:gd name="T0" fmla="*/ 157 w 166"/>
                <a:gd name="T1" fmla="*/ 98 h 376"/>
                <a:gd name="T2" fmla="*/ 86 w 166"/>
                <a:gd name="T3" fmla="*/ 376 h 376"/>
                <a:gd name="T4" fmla="*/ 86 w 166"/>
                <a:gd name="T5" fmla="*/ 376 h 376"/>
                <a:gd name="T6" fmla="*/ 49 w 166"/>
                <a:gd name="T7" fmla="*/ 296 h 376"/>
                <a:gd name="T8" fmla="*/ 9 w 166"/>
                <a:gd name="T9" fmla="*/ 81 h 376"/>
                <a:gd name="T10" fmla="*/ 9 w 166"/>
                <a:gd name="T11" fmla="*/ 81 h 376"/>
                <a:gd name="T12" fmla="*/ 46 w 166"/>
                <a:gd name="T13" fmla="*/ 16 h 376"/>
                <a:gd name="T14" fmla="*/ 48 w 166"/>
                <a:gd name="T15" fmla="*/ 15 h 376"/>
                <a:gd name="T16" fmla="*/ 124 w 166"/>
                <a:gd name="T17" fmla="*/ 16 h 376"/>
                <a:gd name="T18" fmla="*/ 157 w 166"/>
                <a:gd name="T19" fmla="*/ 9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376">
                  <a:moveTo>
                    <a:pt x="157" y="98"/>
                  </a:moveTo>
                  <a:cubicBezTo>
                    <a:pt x="86" y="376"/>
                    <a:pt x="86" y="376"/>
                    <a:pt x="86" y="376"/>
                  </a:cubicBezTo>
                  <a:cubicBezTo>
                    <a:pt x="86" y="376"/>
                    <a:pt x="86" y="376"/>
                    <a:pt x="86" y="376"/>
                  </a:cubicBezTo>
                  <a:cubicBezTo>
                    <a:pt x="71" y="348"/>
                    <a:pt x="59" y="321"/>
                    <a:pt x="49" y="296"/>
                  </a:cubicBezTo>
                  <a:cubicBezTo>
                    <a:pt x="0" y="168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54"/>
                    <a:pt x="23" y="29"/>
                    <a:pt x="46" y="16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74" y="0"/>
                    <a:pt x="103" y="2"/>
                    <a:pt x="124" y="16"/>
                  </a:cubicBezTo>
                  <a:cubicBezTo>
                    <a:pt x="150" y="32"/>
                    <a:pt x="166" y="63"/>
                    <a:pt x="157" y="9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30">
              <a:extLst>
                <a:ext uri="{FF2B5EF4-FFF2-40B4-BE49-F238E27FC236}">
                  <a16:creationId xmlns:a16="http://schemas.microsoft.com/office/drawing/2014/main" xmlns="" id="{13880979-446D-4A8B-AFBB-571E62876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9889" y="5279414"/>
              <a:ext cx="120752" cy="127175"/>
            </a:xfrm>
            <a:custGeom>
              <a:avLst/>
              <a:gdLst>
                <a:gd name="T0" fmla="*/ 94 w 94"/>
                <a:gd name="T1" fmla="*/ 61 h 99"/>
                <a:gd name="T2" fmla="*/ 43 w 94"/>
                <a:gd name="T3" fmla="*/ 99 h 99"/>
                <a:gd name="T4" fmla="*/ 0 w 94"/>
                <a:gd name="T5" fmla="*/ 29 h 99"/>
                <a:gd name="T6" fmla="*/ 0 w 94"/>
                <a:gd name="T7" fmla="*/ 29 h 99"/>
                <a:gd name="T8" fmla="*/ 0 w 94"/>
                <a:gd name="T9" fmla="*/ 28 h 99"/>
                <a:gd name="T10" fmla="*/ 22 w 94"/>
                <a:gd name="T11" fmla="*/ 0 h 99"/>
                <a:gd name="T12" fmla="*/ 26 w 94"/>
                <a:gd name="T13" fmla="*/ 3 h 99"/>
                <a:gd name="T14" fmla="*/ 29 w 94"/>
                <a:gd name="T15" fmla="*/ 6 h 99"/>
                <a:gd name="T16" fmla="*/ 94 w 94"/>
                <a:gd name="T1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9">
                  <a:moveTo>
                    <a:pt x="94" y="61"/>
                  </a:moveTo>
                  <a:lnTo>
                    <a:pt x="43" y="9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22" y="0"/>
                  </a:lnTo>
                  <a:lnTo>
                    <a:pt x="26" y="3"/>
                  </a:lnTo>
                  <a:lnTo>
                    <a:pt x="29" y="6"/>
                  </a:lnTo>
                  <a:lnTo>
                    <a:pt x="94" y="61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31">
              <a:extLst>
                <a:ext uri="{FF2B5EF4-FFF2-40B4-BE49-F238E27FC236}">
                  <a16:creationId xmlns:a16="http://schemas.microsoft.com/office/drawing/2014/main" xmlns="" id="{089B4E6E-1488-4037-B708-2FE0486A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0641" y="5279414"/>
              <a:ext cx="122037" cy="127175"/>
            </a:xfrm>
            <a:custGeom>
              <a:avLst/>
              <a:gdLst>
                <a:gd name="T0" fmla="*/ 95 w 95"/>
                <a:gd name="T1" fmla="*/ 29 h 99"/>
                <a:gd name="T2" fmla="*/ 95 w 95"/>
                <a:gd name="T3" fmla="*/ 29 h 99"/>
                <a:gd name="T4" fmla="*/ 52 w 95"/>
                <a:gd name="T5" fmla="*/ 99 h 99"/>
                <a:gd name="T6" fmla="*/ 0 w 95"/>
                <a:gd name="T7" fmla="*/ 61 h 99"/>
                <a:gd name="T8" fmla="*/ 66 w 95"/>
                <a:gd name="T9" fmla="*/ 6 h 99"/>
                <a:gd name="T10" fmla="*/ 68 w 95"/>
                <a:gd name="T11" fmla="*/ 3 h 99"/>
                <a:gd name="T12" fmla="*/ 73 w 95"/>
                <a:gd name="T13" fmla="*/ 0 h 99"/>
                <a:gd name="T14" fmla="*/ 94 w 95"/>
                <a:gd name="T15" fmla="*/ 28 h 99"/>
                <a:gd name="T16" fmla="*/ 94 w 95"/>
                <a:gd name="T17" fmla="*/ 28 h 99"/>
                <a:gd name="T18" fmla="*/ 95 w 95"/>
                <a:gd name="T19" fmla="*/ 2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9">
                  <a:moveTo>
                    <a:pt x="95" y="29"/>
                  </a:moveTo>
                  <a:lnTo>
                    <a:pt x="95" y="29"/>
                  </a:lnTo>
                  <a:lnTo>
                    <a:pt x="52" y="99"/>
                  </a:lnTo>
                  <a:lnTo>
                    <a:pt x="0" y="61"/>
                  </a:lnTo>
                  <a:lnTo>
                    <a:pt x="66" y="6"/>
                  </a:lnTo>
                  <a:lnTo>
                    <a:pt x="68" y="3"/>
                  </a:lnTo>
                  <a:lnTo>
                    <a:pt x="73" y="0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5" y="29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32">
              <a:extLst>
                <a:ext uri="{FF2B5EF4-FFF2-40B4-BE49-F238E27FC236}">
                  <a16:creationId xmlns:a16="http://schemas.microsoft.com/office/drawing/2014/main" xmlns="" id="{8F9C095E-02A5-4EC3-8997-7F2DE5F27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1983" y="5365482"/>
              <a:ext cx="80930" cy="251781"/>
            </a:xfrm>
            <a:custGeom>
              <a:avLst/>
              <a:gdLst>
                <a:gd name="T0" fmla="*/ 0 w 203"/>
                <a:gd name="T1" fmla="*/ 0 h 635"/>
                <a:gd name="T2" fmla="*/ 175 w 203"/>
                <a:gd name="T3" fmla="*/ 342 h 635"/>
                <a:gd name="T4" fmla="*/ 203 w 203"/>
                <a:gd name="T5" fmla="*/ 456 h 635"/>
                <a:gd name="T6" fmla="*/ 203 w 203"/>
                <a:gd name="T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635">
                  <a:moveTo>
                    <a:pt x="0" y="0"/>
                  </a:moveTo>
                  <a:cubicBezTo>
                    <a:pt x="175" y="342"/>
                    <a:pt x="175" y="342"/>
                    <a:pt x="175" y="342"/>
                  </a:cubicBezTo>
                  <a:cubicBezTo>
                    <a:pt x="193" y="377"/>
                    <a:pt x="203" y="416"/>
                    <a:pt x="203" y="456"/>
                  </a:cubicBezTo>
                  <a:cubicBezTo>
                    <a:pt x="203" y="635"/>
                    <a:pt x="203" y="635"/>
                    <a:pt x="203" y="635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33">
              <a:extLst>
                <a:ext uri="{FF2B5EF4-FFF2-40B4-BE49-F238E27FC236}">
                  <a16:creationId xmlns:a16="http://schemas.microsoft.com/office/drawing/2014/main" xmlns="" id="{686B15C9-7885-4248-B2E0-4434DDAB1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49654" y="5365482"/>
              <a:ext cx="79645" cy="251781"/>
            </a:xfrm>
            <a:custGeom>
              <a:avLst/>
              <a:gdLst>
                <a:gd name="T0" fmla="*/ 202 w 202"/>
                <a:gd name="T1" fmla="*/ 0 h 635"/>
                <a:gd name="T2" fmla="*/ 28 w 202"/>
                <a:gd name="T3" fmla="*/ 342 h 635"/>
                <a:gd name="T4" fmla="*/ 0 w 202"/>
                <a:gd name="T5" fmla="*/ 456 h 635"/>
                <a:gd name="T6" fmla="*/ 0 w 202"/>
                <a:gd name="T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635">
                  <a:moveTo>
                    <a:pt x="202" y="0"/>
                  </a:moveTo>
                  <a:cubicBezTo>
                    <a:pt x="28" y="342"/>
                    <a:pt x="28" y="342"/>
                    <a:pt x="28" y="342"/>
                  </a:cubicBezTo>
                  <a:cubicBezTo>
                    <a:pt x="10" y="377"/>
                    <a:pt x="0" y="416"/>
                    <a:pt x="0" y="456"/>
                  </a:cubicBezTo>
                  <a:cubicBezTo>
                    <a:pt x="0" y="635"/>
                    <a:pt x="0" y="635"/>
                    <a:pt x="0" y="635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34">
              <a:extLst>
                <a:ext uri="{FF2B5EF4-FFF2-40B4-BE49-F238E27FC236}">
                  <a16:creationId xmlns:a16="http://schemas.microsoft.com/office/drawing/2014/main" xmlns="" id="{34619F3C-8B9D-4800-B9D0-96E608BAA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0051" y="5359059"/>
              <a:ext cx="461170" cy="258204"/>
            </a:xfrm>
            <a:custGeom>
              <a:avLst/>
              <a:gdLst>
                <a:gd name="T0" fmla="*/ 292 w 1161"/>
                <a:gd name="T1" fmla="*/ 3 h 649"/>
                <a:gd name="T2" fmla="*/ 292 w 1161"/>
                <a:gd name="T3" fmla="*/ 3 h 649"/>
                <a:gd name="T4" fmla="*/ 294 w 1161"/>
                <a:gd name="T5" fmla="*/ 0 h 649"/>
                <a:gd name="T6" fmla="*/ 268 w 1161"/>
                <a:gd name="T7" fmla="*/ 7 h 649"/>
                <a:gd name="T8" fmla="*/ 192 w 1161"/>
                <a:gd name="T9" fmla="*/ 19 h 649"/>
                <a:gd name="T10" fmla="*/ 0 w 1161"/>
                <a:gd name="T11" fmla="*/ 244 h 649"/>
                <a:gd name="T12" fmla="*/ 0 w 1161"/>
                <a:gd name="T13" fmla="*/ 649 h 649"/>
                <a:gd name="T14" fmla="*/ 1153 w 1161"/>
                <a:gd name="T15" fmla="*/ 649 h 649"/>
                <a:gd name="T16" fmla="*/ 1161 w 1161"/>
                <a:gd name="T17" fmla="*/ 243 h 649"/>
                <a:gd name="T18" fmla="*/ 1086 w 1161"/>
                <a:gd name="T19" fmla="*/ 118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1" h="649">
                  <a:moveTo>
                    <a:pt x="292" y="3"/>
                  </a:moveTo>
                  <a:cubicBezTo>
                    <a:pt x="292" y="3"/>
                    <a:pt x="292" y="3"/>
                    <a:pt x="292" y="3"/>
                  </a:cubicBezTo>
                  <a:cubicBezTo>
                    <a:pt x="294" y="0"/>
                    <a:pt x="294" y="0"/>
                    <a:pt x="294" y="0"/>
                  </a:cubicBezTo>
                  <a:cubicBezTo>
                    <a:pt x="286" y="3"/>
                    <a:pt x="277" y="5"/>
                    <a:pt x="268" y="7"/>
                  </a:cubicBezTo>
                  <a:cubicBezTo>
                    <a:pt x="192" y="19"/>
                    <a:pt x="192" y="19"/>
                    <a:pt x="192" y="19"/>
                  </a:cubicBezTo>
                  <a:cubicBezTo>
                    <a:pt x="81" y="37"/>
                    <a:pt x="0" y="132"/>
                    <a:pt x="0" y="244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1153" y="649"/>
                    <a:pt x="1153" y="649"/>
                    <a:pt x="1153" y="649"/>
                  </a:cubicBezTo>
                  <a:cubicBezTo>
                    <a:pt x="1161" y="243"/>
                    <a:pt x="1161" y="243"/>
                    <a:pt x="1161" y="243"/>
                  </a:cubicBezTo>
                  <a:cubicBezTo>
                    <a:pt x="1161" y="243"/>
                    <a:pt x="1156" y="132"/>
                    <a:pt x="1086" y="118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35">
              <a:extLst>
                <a:ext uri="{FF2B5EF4-FFF2-40B4-BE49-F238E27FC236}">
                  <a16:creationId xmlns:a16="http://schemas.microsoft.com/office/drawing/2014/main" xmlns="" id="{50D8F5E7-2ECE-4B5E-88B4-5F7D8EF79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0469" y="5359059"/>
              <a:ext cx="10277" cy="2569"/>
            </a:xfrm>
            <a:custGeom>
              <a:avLst/>
              <a:gdLst>
                <a:gd name="T0" fmla="*/ 2 w 26"/>
                <a:gd name="T1" fmla="*/ 3 h 7"/>
                <a:gd name="T2" fmla="*/ 2 w 26"/>
                <a:gd name="T3" fmla="*/ 3 h 7"/>
                <a:gd name="T4" fmla="*/ 0 w 26"/>
                <a:gd name="T5" fmla="*/ 0 h 7"/>
                <a:gd name="T6" fmla="*/ 26 w 26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7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3"/>
                    <a:pt x="17" y="5"/>
                    <a:pt x="26" y="7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36">
              <a:extLst>
                <a:ext uri="{FF2B5EF4-FFF2-40B4-BE49-F238E27FC236}">
                  <a16:creationId xmlns:a16="http://schemas.microsoft.com/office/drawing/2014/main" xmlns="" id="{3EEFF46D-4304-4FC7-8C52-0532E2224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7780" y="5284553"/>
              <a:ext cx="161859" cy="141305"/>
            </a:xfrm>
            <a:custGeom>
              <a:avLst/>
              <a:gdLst>
                <a:gd name="T0" fmla="*/ 213 w 409"/>
                <a:gd name="T1" fmla="*/ 355 h 355"/>
                <a:gd name="T2" fmla="*/ 0 w 409"/>
                <a:gd name="T3" fmla="*/ 116 h 355"/>
                <a:gd name="T4" fmla="*/ 11 w 409"/>
                <a:gd name="T5" fmla="*/ 70 h 355"/>
                <a:gd name="T6" fmla="*/ 16 w 409"/>
                <a:gd name="T7" fmla="*/ 0 h 355"/>
                <a:gd name="T8" fmla="*/ 205 w 409"/>
                <a:gd name="T9" fmla="*/ 95 h 355"/>
                <a:gd name="T10" fmla="*/ 393 w 409"/>
                <a:gd name="T11" fmla="*/ 0 h 355"/>
                <a:gd name="T12" fmla="*/ 398 w 409"/>
                <a:gd name="T13" fmla="*/ 70 h 355"/>
                <a:gd name="T14" fmla="*/ 409 w 409"/>
                <a:gd name="T15" fmla="*/ 116 h 355"/>
                <a:gd name="T16" fmla="*/ 222 w 409"/>
                <a:gd name="T17" fmla="*/ 35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9" h="355">
                  <a:moveTo>
                    <a:pt x="213" y="355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6" y="102"/>
                    <a:pt x="10" y="86"/>
                    <a:pt x="11" y="7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8" y="59"/>
                    <a:pt x="134" y="95"/>
                    <a:pt x="205" y="95"/>
                  </a:cubicBezTo>
                  <a:cubicBezTo>
                    <a:pt x="275" y="95"/>
                    <a:pt x="341" y="59"/>
                    <a:pt x="393" y="0"/>
                  </a:cubicBezTo>
                  <a:cubicBezTo>
                    <a:pt x="398" y="70"/>
                    <a:pt x="398" y="70"/>
                    <a:pt x="398" y="70"/>
                  </a:cubicBezTo>
                  <a:cubicBezTo>
                    <a:pt x="399" y="86"/>
                    <a:pt x="403" y="102"/>
                    <a:pt x="409" y="116"/>
                  </a:cubicBezTo>
                  <a:cubicBezTo>
                    <a:pt x="222" y="350"/>
                    <a:pt x="222" y="350"/>
                    <a:pt x="222" y="350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38">
              <a:extLst>
                <a:ext uri="{FF2B5EF4-FFF2-40B4-BE49-F238E27FC236}">
                  <a16:creationId xmlns:a16="http://schemas.microsoft.com/office/drawing/2014/main" xmlns="" id="{B16FC567-5840-4FFA-84C5-D4F5485C5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4835" y="4940281"/>
              <a:ext cx="287749" cy="211958"/>
            </a:xfrm>
            <a:custGeom>
              <a:avLst/>
              <a:gdLst>
                <a:gd name="T0" fmla="*/ 705 w 727"/>
                <a:gd name="T1" fmla="*/ 532 h 532"/>
                <a:gd name="T2" fmla="*/ 727 w 727"/>
                <a:gd name="T3" fmla="*/ 393 h 532"/>
                <a:gd name="T4" fmla="*/ 727 w 727"/>
                <a:gd name="T5" fmla="*/ 383 h 532"/>
                <a:gd name="T6" fmla="*/ 532 w 727"/>
                <a:gd name="T7" fmla="*/ 39 h 532"/>
                <a:gd name="T8" fmla="*/ 364 w 727"/>
                <a:gd name="T9" fmla="*/ 0 h 532"/>
                <a:gd name="T10" fmla="*/ 195 w 727"/>
                <a:gd name="T11" fmla="*/ 39 h 532"/>
                <a:gd name="T12" fmla="*/ 0 w 727"/>
                <a:gd name="T13" fmla="*/ 383 h 532"/>
                <a:gd name="T14" fmla="*/ 0 w 727"/>
                <a:gd name="T15" fmla="*/ 393 h 532"/>
                <a:gd name="T16" fmla="*/ 22 w 727"/>
                <a:gd name="T17" fmla="*/ 532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7" h="532">
                  <a:moveTo>
                    <a:pt x="705" y="532"/>
                  </a:moveTo>
                  <a:cubicBezTo>
                    <a:pt x="718" y="488"/>
                    <a:pt x="726" y="441"/>
                    <a:pt x="727" y="393"/>
                  </a:cubicBezTo>
                  <a:cubicBezTo>
                    <a:pt x="727" y="390"/>
                    <a:pt x="727" y="387"/>
                    <a:pt x="727" y="383"/>
                  </a:cubicBezTo>
                  <a:cubicBezTo>
                    <a:pt x="727" y="219"/>
                    <a:pt x="648" y="98"/>
                    <a:pt x="532" y="39"/>
                  </a:cubicBezTo>
                  <a:cubicBezTo>
                    <a:pt x="482" y="14"/>
                    <a:pt x="424" y="0"/>
                    <a:pt x="364" y="0"/>
                  </a:cubicBezTo>
                  <a:cubicBezTo>
                    <a:pt x="303" y="0"/>
                    <a:pt x="245" y="14"/>
                    <a:pt x="195" y="39"/>
                  </a:cubicBezTo>
                  <a:cubicBezTo>
                    <a:pt x="79" y="98"/>
                    <a:pt x="0" y="219"/>
                    <a:pt x="0" y="383"/>
                  </a:cubicBezTo>
                  <a:cubicBezTo>
                    <a:pt x="0" y="387"/>
                    <a:pt x="0" y="390"/>
                    <a:pt x="0" y="393"/>
                  </a:cubicBezTo>
                  <a:cubicBezTo>
                    <a:pt x="1" y="441"/>
                    <a:pt x="9" y="488"/>
                    <a:pt x="22" y="532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41">
              <a:extLst>
                <a:ext uri="{FF2B5EF4-FFF2-40B4-BE49-F238E27FC236}">
                  <a16:creationId xmlns:a16="http://schemas.microsoft.com/office/drawing/2014/main" xmlns="" id="{72755740-D458-4A99-850E-572EE85D2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2265" y="5337221"/>
              <a:ext cx="354548" cy="282611"/>
            </a:xfrm>
            <a:custGeom>
              <a:avLst/>
              <a:gdLst>
                <a:gd name="T0" fmla="*/ 26 w 894"/>
                <a:gd name="T1" fmla="*/ 705 h 710"/>
                <a:gd name="T2" fmla="*/ 26 w 894"/>
                <a:gd name="T3" fmla="*/ 552 h 710"/>
                <a:gd name="T4" fmla="*/ 0 w 894"/>
                <a:gd name="T5" fmla="*/ 455 h 710"/>
                <a:gd name="T6" fmla="*/ 654 w 894"/>
                <a:gd name="T7" fmla="*/ 59 h 710"/>
                <a:gd name="T8" fmla="*/ 894 w 894"/>
                <a:gd name="T9" fmla="*/ 159 h 710"/>
                <a:gd name="T10" fmla="*/ 592 w 894"/>
                <a:gd name="T11" fmla="*/ 710 h 710"/>
                <a:gd name="T12" fmla="*/ 26 w 894"/>
                <a:gd name="T13" fmla="*/ 705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4" h="710">
                  <a:moveTo>
                    <a:pt x="26" y="705"/>
                  </a:moveTo>
                  <a:cubicBezTo>
                    <a:pt x="26" y="552"/>
                    <a:pt x="26" y="552"/>
                    <a:pt x="26" y="552"/>
                  </a:cubicBezTo>
                  <a:cubicBezTo>
                    <a:pt x="26" y="518"/>
                    <a:pt x="17" y="485"/>
                    <a:pt x="0" y="455"/>
                  </a:cubicBezTo>
                  <a:cubicBezTo>
                    <a:pt x="654" y="59"/>
                    <a:pt x="654" y="59"/>
                    <a:pt x="654" y="59"/>
                  </a:cubicBezTo>
                  <a:cubicBezTo>
                    <a:pt x="654" y="59"/>
                    <a:pt x="874" y="0"/>
                    <a:pt x="894" y="159"/>
                  </a:cubicBezTo>
                  <a:cubicBezTo>
                    <a:pt x="592" y="710"/>
                    <a:pt x="592" y="710"/>
                    <a:pt x="592" y="710"/>
                  </a:cubicBezTo>
                  <a:cubicBezTo>
                    <a:pt x="592" y="710"/>
                    <a:pt x="20" y="705"/>
                    <a:pt x="26" y="705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42">
              <a:extLst>
                <a:ext uri="{FF2B5EF4-FFF2-40B4-BE49-F238E27FC236}">
                  <a16:creationId xmlns:a16="http://schemas.microsoft.com/office/drawing/2014/main" xmlns="" id="{CD317C52-CBED-43B4-935C-DB1D8DB354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3592" y="5518349"/>
              <a:ext cx="10277" cy="98914"/>
            </a:xfrm>
            <a:custGeom>
              <a:avLst/>
              <a:gdLst>
                <a:gd name="T0" fmla="*/ 26 w 26"/>
                <a:gd name="T1" fmla="*/ 0 h 250"/>
                <a:gd name="T2" fmla="*/ 0 w 26"/>
                <a:gd name="T3" fmla="*/ 97 h 250"/>
                <a:gd name="T4" fmla="*/ 0 w 26"/>
                <a:gd name="T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50">
                  <a:moveTo>
                    <a:pt x="26" y="0"/>
                  </a:moveTo>
                  <a:cubicBezTo>
                    <a:pt x="9" y="30"/>
                    <a:pt x="0" y="63"/>
                    <a:pt x="0" y="97"/>
                  </a:cubicBezTo>
                  <a:cubicBezTo>
                    <a:pt x="0" y="250"/>
                    <a:pt x="0" y="250"/>
                    <a:pt x="0" y="250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Line 343">
              <a:extLst>
                <a:ext uri="{FF2B5EF4-FFF2-40B4-BE49-F238E27FC236}">
                  <a16:creationId xmlns:a16="http://schemas.microsoft.com/office/drawing/2014/main" xmlns="" id="{7B2A503F-BFEC-4A5A-A6A7-21306522BF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34835" y="5366767"/>
              <a:ext cx="0" cy="0"/>
            </a:xfrm>
            <a:prstGeom prst="line">
              <a:avLst/>
            </a:pr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Line 344">
              <a:extLst>
                <a:ext uri="{FF2B5EF4-FFF2-40B4-BE49-F238E27FC236}">
                  <a16:creationId xmlns:a16="http://schemas.microsoft.com/office/drawing/2014/main" xmlns="" id="{1C3C1AA0-11DA-449E-86BA-F4AE459EE5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22584" y="5366767"/>
              <a:ext cx="0" cy="0"/>
            </a:xfrm>
            <a:prstGeom prst="line">
              <a:avLst/>
            </a:pr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45">
              <a:extLst>
                <a:ext uri="{FF2B5EF4-FFF2-40B4-BE49-F238E27FC236}">
                  <a16:creationId xmlns:a16="http://schemas.microsoft.com/office/drawing/2014/main" xmlns="" id="{F6641633-A96B-45FC-8B73-BAA7E4EF0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5665" y="5325660"/>
              <a:ext cx="116898" cy="100198"/>
            </a:xfrm>
            <a:custGeom>
              <a:avLst/>
              <a:gdLst>
                <a:gd name="T0" fmla="*/ 0 w 91"/>
                <a:gd name="T1" fmla="*/ 27 h 78"/>
                <a:gd name="T2" fmla="*/ 0 w 91"/>
                <a:gd name="T3" fmla="*/ 27 h 78"/>
                <a:gd name="T4" fmla="*/ 1 w 91"/>
                <a:gd name="T5" fmla="*/ 26 h 78"/>
                <a:gd name="T6" fmla="*/ 20 w 91"/>
                <a:gd name="T7" fmla="*/ 0 h 78"/>
                <a:gd name="T8" fmla="*/ 24 w 91"/>
                <a:gd name="T9" fmla="*/ 4 h 78"/>
                <a:gd name="T10" fmla="*/ 25 w 91"/>
                <a:gd name="T11" fmla="*/ 4 h 78"/>
                <a:gd name="T12" fmla="*/ 91 w 91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78">
                  <a:moveTo>
                    <a:pt x="0" y="27"/>
                  </a:moveTo>
                  <a:lnTo>
                    <a:pt x="0" y="27"/>
                  </a:lnTo>
                  <a:lnTo>
                    <a:pt x="1" y="26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91" y="78"/>
                  </a:ln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46">
              <a:extLst>
                <a:ext uri="{FF2B5EF4-FFF2-40B4-BE49-F238E27FC236}">
                  <a16:creationId xmlns:a16="http://schemas.microsoft.com/office/drawing/2014/main" xmlns="" id="{CB6F002D-DBCB-42F2-942D-CBB38710E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6417" y="5325660"/>
              <a:ext cx="105337" cy="96345"/>
            </a:xfrm>
            <a:custGeom>
              <a:avLst/>
              <a:gdLst>
                <a:gd name="T0" fmla="*/ 0 w 82"/>
                <a:gd name="T1" fmla="*/ 75 h 75"/>
                <a:gd name="T2" fmla="*/ 57 w 82"/>
                <a:gd name="T3" fmla="*/ 4 h 75"/>
                <a:gd name="T4" fmla="*/ 57 w 82"/>
                <a:gd name="T5" fmla="*/ 4 h 75"/>
                <a:gd name="T6" fmla="*/ 61 w 82"/>
                <a:gd name="T7" fmla="*/ 0 h 75"/>
                <a:gd name="T8" fmla="*/ 81 w 82"/>
                <a:gd name="T9" fmla="*/ 26 h 75"/>
                <a:gd name="T10" fmla="*/ 82 w 82"/>
                <a:gd name="T11" fmla="*/ 27 h 75"/>
                <a:gd name="T12" fmla="*/ 82 w 82"/>
                <a:gd name="T13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75">
                  <a:moveTo>
                    <a:pt x="0" y="75"/>
                  </a:moveTo>
                  <a:lnTo>
                    <a:pt x="57" y="4"/>
                  </a:lnTo>
                  <a:lnTo>
                    <a:pt x="57" y="4"/>
                  </a:lnTo>
                  <a:lnTo>
                    <a:pt x="61" y="0"/>
                  </a:lnTo>
                  <a:lnTo>
                    <a:pt x="81" y="26"/>
                  </a:lnTo>
                  <a:lnTo>
                    <a:pt x="82" y="27"/>
                  </a:lnTo>
                  <a:lnTo>
                    <a:pt x="82" y="27"/>
                  </a:ln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48">
              <a:extLst>
                <a:ext uri="{FF2B5EF4-FFF2-40B4-BE49-F238E27FC236}">
                  <a16:creationId xmlns:a16="http://schemas.microsoft.com/office/drawing/2014/main" xmlns="" id="{982D6430-71EA-45BC-91C7-54CE8561B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1910" y="4886328"/>
              <a:ext cx="133598" cy="69368"/>
            </a:xfrm>
            <a:custGeom>
              <a:avLst/>
              <a:gdLst>
                <a:gd name="T0" fmla="*/ 337 w 337"/>
                <a:gd name="T1" fmla="*/ 168 h 176"/>
                <a:gd name="T2" fmla="*/ 337 w 337"/>
                <a:gd name="T3" fmla="*/ 176 h 176"/>
                <a:gd name="T4" fmla="*/ 169 w 337"/>
                <a:gd name="T5" fmla="*/ 137 h 176"/>
                <a:gd name="T6" fmla="*/ 0 w 337"/>
                <a:gd name="T7" fmla="*/ 176 h 176"/>
                <a:gd name="T8" fmla="*/ 0 w 337"/>
                <a:gd name="T9" fmla="*/ 168 h 176"/>
                <a:gd name="T10" fmla="*/ 168 w 337"/>
                <a:gd name="T11" fmla="*/ 0 h 176"/>
                <a:gd name="T12" fmla="*/ 337 w 337"/>
                <a:gd name="T13" fmla="*/ 16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7" h="176">
                  <a:moveTo>
                    <a:pt x="337" y="168"/>
                  </a:moveTo>
                  <a:cubicBezTo>
                    <a:pt x="337" y="171"/>
                    <a:pt x="337" y="174"/>
                    <a:pt x="337" y="176"/>
                  </a:cubicBezTo>
                  <a:cubicBezTo>
                    <a:pt x="287" y="151"/>
                    <a:pt x="229" y="137"/>
                    <a:pt x="169" y="137"/>
                  </a:cubicBezTo>
                  <a:cubicBezTo>
                    <a:pt x="108" y="137"/>
                    <a:pt x="50" y="151"/>
                    <a:pt x="0" y="176"/>
                  </a:cubicBezTo>
                  <a:cubicBezTo>
                    <a:pt x="0" y="174"/>
                    <a:pt x="0" y="171"/>
                    <a:pt x="0" y="168"/>
                  </a:cubicBezTo>
                  <a:cubicBezTo>
                    <a:pt x="0" y="75"/>
                    <a:pt x="75" y="0"/>
                    <a:pt x="168" y="0"/>
                  </a:cubicBezTo>
                  <a:cubicBezTo>
                    <a:pt x="262" y="0"/>
                    <a:pt x="337" y="75"/>
                    <a:pt x="337" y="16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39">
              <a:extLst>
                <a:ext uri="{FF2B5EF4-FFF2-40B4-BE49-F238E27FC236}">
                  <a16:creationId xmlns:a16="http://schemas.microsoft.com/office/drawing/2014/main" xmlns="" id="{80FE79CC-4E1E-40D7-A627-27161A49B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696" y="5149670"/>
              <a:ext cx="33399" cy="53953"/>
            </a:xfrm>
            <a:custGeom>
              <a:avLst/>
              <a:gdLst>
                <a:gd name="T0" fmla="*/ 83 w 83"/>
                <a:gd name="T1" fmla="*/ 135 h 136"/>
                <a:gd name="T2" fmla="*/ 69 w 83"/>
                <a:gd name="T3" fmla="*/ 136 h 136"/>
                <a:gd name="T4" fmla="*/ 0 w 83"/>
                <a:gd name="T5" fmla="*/ 68 h 136"/>
                <a:gd name="T6" fmla="*/ 65 w 83"/>
                <a:gd name="T7" fmla="*/ 0 h 136"/>
                <a:gd name="T8" fmla="*/ 83 w 83"/>
                <a:gd name="T9" fmla="*/ 13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36">
                  <a:moveTo>
                    <a:pt x="83" y="135"/>
                  </a:moveTo>
                  <a:cubicBezTo>
                    <a:pt x="78" y="136"/>
                    <a:pt x="74" y="136"/>
                    <a:pt x="69" y="136"/>
                  </a:cubicBezTo>
                  <a:cubicBezTo>
                    <a:pt x="31" y="136"/>
                    <a:pt x="0" y="106"/>
                    <a:pt x="0" y="68"/>
                  </a:cubicBezTo>
                  <a:cubicBezTo>
                    <a:pt x="0" y="31"/>
                    <a:pt x="29" y="2"/>
                    <a:pt x="65" y="0"/>
                  </a:cubicBezTo>
                  <a:cubicBezTo>
                    <a:pt x="65" y="46"/>
                    <a:pt x="72" y="92"/>
                    <a:pt x="83" y="135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40">
              <a:extLst>
                <a:ext uri="{FF2B5EF4-FFF2-40B4-BE49-F238E27FC236}">
                  <a16:creationId xmlns:a16="http://schemas.microsoft.com/office/drawing/2014/main" xmlns="" id="{03B1328E-2503-4714-B8D7-6FAD2A775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4323" y="5149670"/>
              <a:ext cx="33399" cy="53953"/>
            </a:xfrm>
            <a:custGeom>
              <a:avLst/>
              <a:gdLst>
                <a:gd name="T0" fmla="*/ 83 w 83"/>
                <a:gd name="T1" fmla="*/ 68 h 136"/>
                <a:gd name="T2" fmla="*/ 14 w 83"/>
                <a:gd name="T3" fmla="*/ 136 h 136"/>
                <a:gd name="T4" fmla="*/ 0 w 83"/>
                <a:gd name="T5" fmla="*/ 135 h 136"/>
                <a:gd name="T6" fmla="*/ 18 w 83"/>
                <a:gd name="T7" fmla="*/ 0 h 136"/>
                <a:gd name="T8" fmla="*/ 83 w 83"/>
                <a:gd name="T9" fmla="*/ 6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36">
                  <a:moveTo>
                    <a:pt x="83" y="68"/>
                  </a:moveTo>
                  <a:cubicBezTo>
                    <a:pt x="83" y="106"/>
                    <a:pt x="52" y="136"/>
                    <a:pt x="14" y="136"/>
                  </a:cubicBezTo>
                  <a:cubicBezTo>
                    <a:pt x="9" y="136"/>
                    <a:pt x="5" y="136"/>
                    <a:pt x="0" y="135"/>
                  </a:cubicBezTo>
                  <a:cubicBezTo>
                    <a:pt x="11" y="92"/>
                    <a:pt x="18" y="46"/>
                    <a:pt x="18" y="0"/>
                  </a:cubicBezTo>
                  <a:cubicBezTo>
                    <a:pt x="54" y="2"/>
                    <a:pt x="83" y="31"/>
                    <a:pt x="83" y="6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37">
              <a:extLst>
                <a:ext uri="{FF2B5EF4-FFF2-40B4-BE49-F238E27FC236}">
                  <a16:creationId xmlns:a16="http://schemas.microsoft.com/office/drawing/2014/main" xmlns="" id="{6088631C-F51C-47A6-8DA9-1F835ABB6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5388" y="5145816"/>
              <a:ext cx="246642" cy="175990"/>
            </a:xfrm>
            <a:custGeom>
              <a:avLst/>
              <a:gdLst>
                <a:gd name="T0" fmla="*/ 622 w 622"/>
                <a:gd name="T1" fmla="*/ 0 h 444"/>
                <a:gd name="T2" fmla="*/ 621 w 622"/>
                <a:gd name="T3" fmla="*/ 10 h 444"/>
                <a:gd name="T4" fmla="*/ 603 w 622"/>
                <a:gd name="T5" fmla="*/ 145 h 444"/>
                <a:gd name="T6" fmla="*/ 499 w 622"/>
                <a:gd name="T7" fmla="*/ 349 h 444"/>
                <a:gd name="T8" fmla="*/ 311 w 622"/>
                <a:gd name="T9" fmla="*/ 444 h 444"/>
                <a:gd name="T10" fmla="*/ 122 w 622"/>
                <a:gd name="T11" fmla="*/ 349 h 444"/>
                <a:gd name="T12" fmla="*/ 18 w 622"/>
                <a:gd name="T13" fmla="*/ 145 h 444"/>
                <a:gd name="T14" fmla="*/ 0 w 622"/>
                <a:gd name="T15" fmla="*/ 10 h 444"/>
                <a:gd name="T16" fmla="*/ 0 w 622"/>
                <a:gd name="T17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2" h="444">
                  <a:moveTo>
                    <a:pt x="622" y="0"/>
                  </a:moveTo>
                  <a:cubicBezTo>
                    <a:pt x="622" y="3"/>
                    <a:pt x="621" y="6"/>
                    <a:pt x="621" y="10"/>
                  </a:cubicBezTo>
                  <a:cubicBezTo>
                    <a:pt x="621" y="56"/>
                    <a:pt x="614" y="102"/>
                    <a:pt x="603" y="145"/>
                  </a:cubicBezTo>
                  <a:cubicBezTo>
                    <a:pt x="582" y="224"/>
                    <a:pt x="546" y="295"/>
                    <a:pt x="499" y="349"/>
                  </a:cubicBezTo>
                  <a:cubicBezTo>
                    <a:pt x="447" y="408"/>
                    <a:pt x="381" y="444"/>
                    <a:pt x="311" y="444"/>
                  </a:cubicBezTo>
                  <a:cubicBezTo>
                    <a:pt x="240" y="444"/>
                    <a:pt x="174" y="408"/>
                    <a:pt x="122" y="349"/>
                  </a:cubicBezTo>
                  <a:cubicBezTo>
                    <a:pt x="75" y="295"/>
                    <a:pt x="39" y="224"/>
                    <a:pt x="18" y="145"/>
                  </a:cubicBezTo>
                  <a:cubicBezTo>
                    <a:pt x="7" y="102"/>
                    <a:pt x="0" y="56"/>
                    <a:pt x="0" y="10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47">
              <a:extLst>
                <a:ext uri="{FF2B5EF4-FFF2-40B4-BE49-F238E27FC236}">
                  <a16:creationId xmlns:a16="http://schemas.microsoft.com/office/drawing/2014/main" xmlns="" id="{09727A54-8088-4154-97DE-9B5F2F003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5388" y="5019926"/>
              <a:ext cx="246642" cy="125890"/>
            </a:xfrm>
            <a:custGeom>
              <a:avLst/>
              <a:gdLst>
                <a:gd name="T0" fmla="*/ 622 w 622"/>
                <a:gd name="T1" fmla="*/ 316 h 316"/>
                <a:gd name="T2" fmla="*/ 572 w 622"/>
                <a:gd name="T3" fmla="*/ 232 h 316"/>
                <a:gd name="T4" fmla="*/ 439 w 622"/>
                <a:gd name="T5" fmla="*/ 0 h 316"/>
                <a:gd name="T6" fmla="*/ 439 w 622"/>
                <a:gd name="T7" fmla="*/ 0 h 316"/>
                <a:gd name="T8" fmla="*/ 347 w 622"/>
                <a:gd name="T9" fmla="*/ 81 h 316"/>
                <a:gd name="T10" fmla="*/ 0 w 622"/>
                <a:gd name="T11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2" h="316">
                  <a:moveTo>
                    <a:pt x="622" y="316"/>
                  </a:moveTo>
                  <a:cubicBezTo>
                    <a:pt x="611" y="290"/>
                    <a:pt x="593" y="251"/>
                    <a:pt x="572" y="232"/>
                  </a:cubicBezTo>
                  <a:cubicBezTo>
                    <a:pt x="429" y="104"/>
                    <a:pt x="439" y="0"/>
                    <a:pt x="439" y="0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23" y="29"/>
                    <a:pt x="395" y="60"/>
                    <a:pt x="347" y="81"/>
                  </a:cubicBezTo>
                  <a:cubicBezTo>
                    <a:pt x="250" y="125"/>
                    <a:pt x="70" y="173"/>
                    <a:pt x="0" y="316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6">
              <a:extLst>
                <a:ext uri="{FF2B5EF4-FFF2-40B4-BE49-F238E27FC236}">
                  <a16:creationId xmlns:a16="http://schemas.microsoft.com/office/drawing/2014/main" xmlns="" id="{1BE5BD77-C2A7-46C0-B0A3-F45B0F698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0109" y="5107278"/>
              <a:ext cx="32115" cy="48815"/>
            </a:xfrm>
            <a:custGeom>
              <a:avLst/>
              <a:gdLst>
                <a:gd name="T0" fmla="*/ 81 w 81"/>
                <a:gd name="T1" fmla="*/ 57 h 121"/>
                <a:gd name="T2" fmla="*/ 17 w 81"/>
                <a:gd name="T3" fmla="*/ 121 h 121"/>
                <a:gd name="T4" fmla="*/ 0 w 81"/>
                <a:gd name="T5" fmla="*/ 118 h 121"/>
                <a:gd name="T6" fmla="*/ 4 w 81"/>
                <a:gd name="T7" fmla="*/ 102 h 121"/>
                <a:gd name="T8" fmla="*/ 6 w 81"/>
                <a:gd name="T9" fmla="*/ 95 h 121"/>
                <a:gd name="T10" fmla="*/ 7 w 81"/>
                <a:gd name="T11" fmla="*/ 88 h 121"/>
                <a:gd name="T12" fmla="*/ 9 w 81"/>
                <a:gd name="T13" fmla="*/ 81 h 121"/>
                <a:gd name="T14" fmla="*/ 9 w 81"/>
                <a:gd name="T15" fmla="*/ 81 h 121"/>
                <a:gd name="T16" fmla="*/ 46 w 81"/>
                <a:gd name="T17" fmla="*/ 0 h 121"/>
                <a:gd name="T18" fmla="*/ 81 w 81"/>
                <a:gd name="T19" fmla="*/ 5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21">
                  <a:moveTo>
                    <a:pt x="81" y="57"/>
                  </a:moveTo>
                  <a:cubicBezTo>
                    <a:pt x="81" y="92"/>
                    <a:pt x="52" y="121"/>
                    <a:pt x="17" y="121"/>
                  </a:cubicBezTo>
                  <a:cubicBezTo>
                    <a:pt x="11" y="121"/>
                    <a:pt x="5" y="120"/>
                    <a:pt x="0" y="118"/>
                  </a:cubicBezTo>
                  <a:cubicBezTo>
                    <a:pt x="1" y="113"/>
                    <a:pt x="3" y="108"/>
                    <a:pt x="4" y="102"/>
                  </a:cubicBezTo>
                  <a:cubicBezTo>
                    <a:pt x="4" y="100"/>
                    <a:pt x="5" y="98"/>
                    <a:pt x="6" y="95"/>
                  </a:cubicBezTo>
                  <a:cubicBezTo>
                    <a:pt x="6" y="93"/>
                    <a:pt x="7" y="90"/>
                    <a:pt x="7" y="88"/>
                  </a:cubicBezTo>
                  <a:cubicBezTo>
                    <a:pt x="8" y="85"/>
                    <a:pt x="8" y="83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24" y="53"/>
                    <a:pt x="36" y="26"/>
                    <a:pt x="46" y="0"/>
                  </a:cubicBezTo>
                  <a:cubicBezTo>
                    <a:pt x="66" y="11"/>
                    <a:pt x="81" y="32"/>
                    <a:pt x="81" y="57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8">
              <a:extLst>
                <a:ext uri="{FF2B5EF4-FFF2-40B4-BE49-F238E27FC236}">
                  <a16:creationId xmlns:a16="http://schemas.microsoft.com/office/drawing/2014/main" xmlns="" id="{73415C51-B44A-43C8-9F1F-F8E590D25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1848" y="4990380"/>
              <a:ext cx="65514" cy="149013"/>
            </a:xfrm>
            <a:custGeom>
              <a:avLst/>
              <a:gdLst>
                <a:gd name="T0" fmla="*/ 118 w 166"/>
                <a:gd name="T1" fmla="*/ 295 h 376"/>
                <a:gd name="T2" fmla="*/ 81 w 166"/>
                <a:gd name="T3" fmla="*/ 376 h 376"/>
                <a:gd name="T4" fmla="*/ 81 w 166"/>
                <a:gd name="T5" fmla="*/ 376 h 376"/>
                <a:gd name="T6" fmla="*/ 81 w 166"/>
                <a:gd name="T7" fmla="*/ 376 h 376"/>
                <a:gd name="T8" fmla="*/ 9 w 166"/>
                <a:gd name="T9" fmla="*/ 98 h 376"/>
                <a:gd name="T10" fmla="*/ 42 w 166"/>
                <a:gd name="T11" fmla="*/ 16 h 376"/>
                <a:gd name="T12" fmla="*/ 118 w 166"/>
                <a:gd name="T13" fmla="*/ 15 h 376"/>
                <a:gd name="T14" fmla="*/ 120 w 166"/>
                <a:gd name="T15" fmla="*/ 16 h 376"/>
                <a:gd name="T16" fmla="*/ 158 w 166"/>
                <a:gd name="T17" fmla="*/ 81 h 376"/>
                <a:gd name="T18" fmla="*/ 158 w 166"/>
                <a:gd name="T19" fmla="*/ 81 h 376"/>
                <a:gd name="T20" fmla="*/ 118 w 166"/>
                <a:gd name="T21" fmla="*/ 29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376">
                  <a:moveTo>
                    <a:pt x="118" y="295"/>
                  </a:moveTo>
                  <a:cubicBezTo>
                    <a:pt x="108" y="321"/>
                    <a:pt x="96" y="348"/>
                    <a:pt x="81" y="376"/>
                  </a:cubicBezTo>
                  <a:cubicBezTo>
                    <a:pt x="81" y="376"/>
                    <a:pt x="81" y="376"/>
                    <a:pt x="81" y="376"/>
                  </a:cubicBezTo>
                  <a:cubicBezTo>
                    <a:pt x="81" y="376"/>
                    <a:pt x="81" y="376"/>
                    <a:pt x="81" y="376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0" y="63"/>
                    <a:pt x="17" y="32"/>
                    <a:pt x="42" y="16"/>
                  </a:cubicBezTo>
                  <a:cubicBezTo>
                    <a:pt x="64" y="2"/>
                    <a:pt x="92" y="0"/>
                    <a:pt x="118" y="15"/>
                  </a:cubicBezTo>
                  <a:cubicBezTo>
                    <a:pt x="120" y="16"/>
                    <a:pt x="120" y="16"/>
                    <a:pt x="120" y="16"/>
                  </a:cubicBezTo>
                  <a:cubicBezTo>
                    <a:pt x="144" y="29"/>
                    <a:pt x="158" y="54"/>
                    <a:pt x="158" y="81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8" y="81"/>
                    <a:pt x="166" y="168"/>
                    <a:pt x="118" y="295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364">
            <a:extLst>
              <a:ext uri="{FF2B5EF4-FFF2-40B4-BE49-F238E27FC236}">
                <a16:creationId xmlns:a16="http://schemas.microsoft.com/office/drawing/2014/main" xmlns="" id="{F502CB89-B93F-4362-B9E2-CE95EB046B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18947" y="5100193"/>
            <a:ext cx="866636" cy="733504"/>
            <a:chOff x="4095" y="3060"/>
            <a:chExt cx="677" cy="573"/>
          </a:xfrm>
        </p:grpSpPr>
        <p:sp>
          <p:nvSpPr>
            <p:cNvPr id="129" name="Oval 365">
              <a:extLst>
                <a:ext uri="{FF2B5EF4-FFF2-40B4-BE49-F238E27FC236}">
                  <a16:creationId xmlns:a16="http://schemas.microsoft.com/office/drawing/2014/main" xmlns="" id="{1A8AD4EC-9265-44B3-9488-8242D97BB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3235"/>
              <a:ext cx="23" cy="22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66">
              <a:extLst>
                <a:ext uri="{FF2B5EF4-FFF2-40B4-BE49-F238E27FC236}">
                  <a16:creationId xmlns:a16="http://schemas.microsoft.com/office/drawing/2014/main" xmlns="" id="{ACF9F7BE-650B-45AA-8A42-69BE67BE93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9" y="3235"/>
              <a:ext cx="23" cy="22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67">
              <a:extLst>
                <a:ext uri="{FF2B5EF4-FFF2-40B4-BE49-F238E27FC236}">
                  <a16:creationId xmlns:a16="http://schemas.microsoft.com/office/drawing/2014/main" xmlns="" id="{F99F19ED-6EB2-4741-B0A7-9994176B0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" y="3432"/>
              <a:ext cx="103" cy="196"/>
            </a:xfrm>
            <a:custGeom>
              <a:avLst/>
              <a:gdLst>
                <a:gd name="T0" fmla="*/ 0 w 353"/>
                <a:gd name="T1" fmla="*/ 668 h 668"/>
                <a:gd name="T2" fmla="*/ 0 w 353"/>
                <a:gd name="T3" fmla="*/ 194 h 668"/>
                <a:gd name="T4" fmla="*/ 194 w 353"/>
                <a:gd name="T5" fmla="*/ 0 h 668"/>
                <a:gd name="T6" fmla="*/ 353 w 353"/>
                <a:gd name="T7" fmla="*/ 0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3" h="668">
                  <a:moveTo>
                    <a:pt x="0" y="668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87"/>
                    <a:pt x="87" y="0"/>
                    <a:pt x="194" y="0"/>
                  </a:cubicBezTo>
                  <a:cubicBezTo>
                    <a:pt x="353" y="0"/>
                    <a:pt x="353" y="0"/>
                    <a:pt x="353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68">
              <a:extLst>
                <a:ext uri="{FF2B5EF4-FFF2-40B4-BE49-F238E27FC236}">
                  <a16:creationId xmlns:a16="http://schemas.microsoft.com/office/drawing/2014/main" xmlns="" id="{37BEB76C-2156-4CF6-9D31-19EC2528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0" y="3432"/>
              <a:ext cx="104" cy="196"/>
            </a:xfrm>
            <a:custGeom>
              <a:avLst/>
              <a:gdLst>
                <a:gd name="T0" fmla="*/ 353 w 353"/>
                <a:gd name="T1" fmla="*/ 668 h 668"/>
                <a:gd name="T2" fmla="*/ 340 w 353"/>
                <a:gd name="T3" fmla="*/ 123 h 668"/>
                <a:gd name="T4" fmla="*/ 159 w 353"/>
                <a:gd name="T5" fmla="*/ 0 h 668"/>
                <a:gd name="T6" fmla="*/ 0 w 353"/>
                <a:gd name="T7" fmla="*/ 0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3" h="668">
                  <a:moveTo>
                    <a:pt x="353" y="668"/>
                  </a:moveTo>
                  <a:cubicBezTo>
                    <a:pt x="340" y="123"/>
                    <a:pt x="340" y="123"/>
                    <a:pt x="340" y="123"/>
                  </a:cubicBezTo>
                  <a:cubicBezTo>
                    <a:pt x="340" y="16"/>
                    <a:pt x="266" y="0"/>
                    <a:pt x="159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Line 369">
              <a:extLst>
                <a:ext uri="{FF2B5EF4-FFF2-40B4-BE49-F238E27FC236}">
                  <a16:creationId xmlns:a16="http://schemas.microsoft.com/office/drawing/2014/main" xmlns="" id="{536F6B2B-C36F-4C37-99DD-FF6970C638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16" y="3382"/>
              <a:ext cx="0" cy="22"/>
            </a:xfrm>
            <a:prstGeom prst="line">
              <a:avLst/>
            </a:pr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Line 370">
              <a:extLst>
                <a:ext uri="{FF2B5EF4-FFF2-40B4-BE49-F238E27FC236}">
                  <a16:creationId xmlns:a16="http://schemas.microsoft.com/office/drawing/2014/main" xmlns="" id="{8C7A5C96-C9B6-46EF-A804-2A8AB47207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02" y="3382"/>
              <a:ext cx="0" cy="22"/>
            </a:xfrm>
            <a:prstGeom prst="line">
              <a:avLst/>
            </a:pr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71">
              <a:extLst>
                <a:ext uri="{FF2B5EF4-FFF2-40B4-BE49-F238E27FC236}">
                  <a16:creationId xmlns:a16="http://schemas.microsoft.com/office/drawing/2014/main" xmlns="" id="{50E6F071-E486-498B-9B16-0DEDE8E4C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" y="3215"/>
              <a:ext cx="35" cy="0"/>
            </a:xfrm>
            <a:custGeom>
              <a:avLst/>
              <a:gdLst>
                <a:gd name="T0" fmla="*/ 0 w 35"/>
                <a:gd name="T1" fmla="*/ 18 w 35"/>
                <a:gd name="T2" fmla="*/ 35 w 3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5">
                  <a:moveTo>
                    <a:pt x="0" y="0"/>
                  </a:moveTo>
                  <a:lnTo>
                    <a:pt x="18" y="0"/>
                  </a:lnTo>
                  <a:lnTo>
                    <a:pt x="35" y="0"/>
                  </a:ln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72">
              <a:extLst>
                <a:ext uri="{FF2B5EF4-FFF2-40B4-BE49-F238E27FC236}">
                  <a16:creationId xmlns:a16="http://schemas.microsoft.com/office/drawing/2014/main" xmlns="" id="{59FFC5E6-8E30-4F8A-AE40-E5FDA0BC6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" y="3215"/>
              <a:ext cx="35" cy="0"/>
            </a:xfrm>
            <a:custGeom>
              <a:avLst/>
              <a:gdLst>
                <a:gd name="T0" fmla="*/ 35 w 35"/>
                <a:gd name="T1" fmla="*/ 17 w 35"/>
                <a:gd name="T2" fmla="*/ 0 w 3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5">
                  <a:moveTo>
                    <a:pt x="35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73">
              <a:extLst>
                <a:ext uri="{FF2B5EF4-FFF2-40B4-BE49-F238E27FC236}">
                  <a16:creationId xmlns:a16="http://schemas.microsoft.com/office/drawing/2014/main" xmlns="" id="{0A092D4E-5572-4765-80A2-691CCA61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" y="3404"/>
              <a:ext cx="62" cy="93"/>
            </a:xfrm>
            <a:custGeom>
              <a:avLst/>
              <a:gdLst>
                <a:gd name="T0" fmla="*/ 18 w 62"/>
                <a:gd name="T1" fmla="*/ 0 h 93"/>
                <a:gd name="T2" fmla="*/ 62 w 62"/>
                <a:gd name="T3" fmla="*/ 53 h 93"/>
                <a:gd name="T4" fmla="*/ 29 w 62"/>
                <a:gd name="T5" fmla="*/ 93 h 93"/>
                <a:gd name="T6" fmla="*/ 0 w 62"/>
                <a:gd name="T7" fmla="*/ 28 h 93"/>
                <a:gd name="T8" fmla="*/ 18 w 62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93">
                  <a:moveTo>
                    <a:pt x="18" y="0"/>
                  </a:moveTo>
                  <a:lnTo>
                    <a:pt x="62" y="53"/>
                  </a:lnTo>
                  <a:lnTo>
                    <a:pt x="29" y="93"/>
                  </a:lnTo>
                  <a:lnTo>
                    <a:pt x="0" y="28"/>
                  </a:lnTo>
                  <a:lnTo>
                    <a:pt x="18" y="0"/>
                  </a:lnTo>
                  <a:close/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74">
              <a:extLst>
                <a:ext uri="{FF2B5EF4-FFF2-40B4-BE49-F238E27FC236}">
                  <a16:creationId xmlns:a16="http://schemas.microsoft.com/office/drawing/2014/main" xmlns="" id="{FF846702-C465-48BC-8670-67280E6F8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3404"/>
              <a:ext cx="60" cy="93"/>
            </a:xfrm>
            <a:custGeom>
              <a:avLst/>
              <a:gdLst>
                <a:gd name="T0" fmla="*/ 42 w 60"/>
                <a:gd name="T1" fmla="*/ 0 h 93"/>
                <a:gd name="T2" fmla="*/ 0 w 60"/>
                <a:gd name="T3" fmla="*/ 53 h 93"/>
                <a:gd name="T4" fmla="*/ 32 w 60"/>
                <a:gd name="T5" fmla="*/ 93 h 93"/>
                <a:gd name="T6" fmla="*/ 60 w 60"/>
                <a:gd name="T7" fmla="*/ 28 h 93"/>
                <a:gd name="T8" fmla="*/ 42 w 60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93">
                  <a:moveTo>
                    <a:pt x="42" y="0"/>
                  </a:moveTo>
                  <a:lnTo>
                    <a:pt x="0" y="53"/>
                  </a:lnTo>
                  <a:lnTo>
                    <a:pt x="32" y="93"/>
                  </a:lnTo>
                  <a:lnTo>
                    <a:pt x="60" y="28"/>
                  </a:lnTo>
                  <a:lnTo>
                    <a:pt x="42" y="0"/>
                  </a:lnTo>
                  <a:close/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75">
              <a:extLst>
                <a:ext uri="{FF2B5EF4-FFF2-40B4-BE49-F238E27FC236}">
                  <a16:creationId xmlns:a16="http://schemas.microsoft.com/office/drawing/2014/main" xmlns="" id="{72771880-AC3F-412C-8D05-E72B64182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" y="3291"/>
              <a:ext cx="78" cy="60"/>
            </a:xfrm>
            <a:custGeom>
              <a:avLst/>
              <a:gdLst>
                <a:gd name="T0" fmla="*/ 0 w 266"/>
                <a:gd name="T1" fmla="*/ 28 h 203"/>
                <a:gd name="T2" fmla="*/ 84 w 266"/>
                <a:gd name="T3" fmla="*/ 14 h 203"/>
                <a:gd name="T4" fmla="*/ 266 w 266"/>
                <a:gd name="T5" fmla="*/ 73 h 203"/>
                <a:gd name="T6" fmla="*/ 0 w 266"/>
                <a:gd name="T7" fmla="*/ 1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203">
                  <a:moveTo>
                    <a:pt x="0" y="28"/>
                  </a:moveTo>
                  <a:cubicBezTo>
                    <a:pt x="0" y="28"/>
                    <a:pt x="38" y="0"/>
                    <a:pt x="84" y="14"/>
                  </a:cubicBezTo>
                  <a:cubicBezTo>
                    <a:pt x="124" y="27"/>
                    <a:pt x="184" y="105"/>
                    <a:pt x="266" y="73"/>
                  </a:cubicBezTo>
                  <a:cubicBezTo>
                    <a:pt x="183" y="203"/>
                    <a:pt x="109" y="103"/>
                    <a:pt x="0" y="103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76">
              <a:extLst>
                <a:ext uri="{FF2B5EF4-FFF2-40B4-BE49-F238E27FC236}">
                  <a16:creationId xmlns:a16="http://schemas.microsoft.com/office/drawing/2014/main" xmlns="" id="{68FA9055-489F-4BF9-9A89-8F6831BAA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" y="3291"/>
              <a:ext cx="79" cy="60"/>
            </a:xfrm>
            <a:custGeom>
              <a:avLst/>
              <a:gdLst>
                <a:gd name="T0" fmla="*/ 266 w 266"/>
                <a:gd name="T1" fmla="*/ 28 h 203"/>
                <a:gd name="T2" fmla="*/ 181 w 266"/>
                <a:gd name="T3" fmla="*/ 14 h 203"/>
                <a:gd name="T4" fmla="*/ 0 w 266"/>
                <a:gd name="T5" fmla="*/ 73 h 203"/>
                <a:gd name="T6" fmla="*/ 266 w 266"/>
                <a:gd name="T7" fmla="*/ 1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203">
                  <a:moveTo>
                    <a:pt x="266" y="28"/>
                  </a:moveTo>
                  <a:cubicBezTo>
                    <a:pt x="266" y="28"/>
                    <a:pt x="227" y="0"/>
                    <a:pt x="181" y="14"/>
                  </a:cubicBezTo>
                  <a:cubicBezTo>
                    <a:pt x="141" y="27"/>
                    <a:pt x="82" y="105"/>
                    <a:pt x="0" y="73"/>
                  </a:cubicBezTo>
                  <a:cubicBezTo>
                    <a:pt x="82" y="203"/>
                    <a:pt x="157" y="103"/>
                    <a:pt x="266" y="103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77">
              <a:extLst>
                <a:ext uri="{FF2B5EF4-FFF2-40B4-BE49-F238E27FC236}">
                  <a16:creationId xmlns:a16="http://schemas.microsoft.com/office/drawing/2014/main" xmlns="" id="{3F173400-B137-4D4B-8C37-078289AA1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3" y="3330"/>
              <a:ext cx="73" cy="16"/>
            </a:xfrm>
            <a:custGeom>
              <a:avLst/>
              <a:gdLst>
                <a:gd name="T0" fmla="*/ 0 w 246"/>
                <a:gd name="T1" fmla="*/ 0 h 56"/>
                <a:gd name="T2" fmla="*/ 123 w 246"/>
                <a:gd name="T3" fmla="*/ 56 h 56"/>
                <a:gd name="T4" fmla="*/ 246 w 246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6" h="56">
                  <a:moveTo>
                    <a:pt x="0" y="0"/>
                  </a:moveTo>
                  <a:cubicBezTo>
                    <a:pt x="29" y="34"/>
                    <a:pt x="73" y="56"/>
                    <a:pt x="123" y="56"/>
                  </a:cubicBezTo>
                  <a:cubicBezTo>
                    <a:pt x="172" y="56"/>
                    <a:pt x="216" y="34"/>
                    <a:pt x="246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78">
              <a:extLst>
                <a:ext uri="{FF2B5EF4-FFF2-40B4-BE49-F238E27FC236}">
                  <a16:creationId xmlns:a16="http://schemas.microsoft.com/office/drawing/2014/main" xmlns="" id="{728182B9-0282-4995-A212-149525973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" y="3092"/>
              <a:ext cx="64" cy="190"/>
            </a:xfrm>
            <a:custGeom>
              <a:avLst/>
              <a:gdLst>
                <a:gd name="T0" fmla="*/ 79 w 216"/>
                <a:gd name="T1" fmla="*/ 647 h 647"/>
                <a:gd name="T2" fmla="*/ 0 w 216"/>
                <a:gd name="T3" fmla="*/ 554 h 647"/>
                <a:gd name="T4" fmla="*/ 0 w 216"/>
                <a:gd name="T5" fmla="*/ 282 h 647"/>
                <a:gd name="T6" fmla="*/ 0 w 216"/>
                <a:gd name="T7" fmla="*/ 453 h 647"/>
                <a:gd name="T8" fmla="*/ 0 w 216"/>
                <a:gd name="T9" fmla="*/ 282 h 647"/>
                <a:gd name="T10" fmla="*/ 216 w 216"/>
                <a:gd name="T11" fmla="*/ 0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6" h="647">
                  <a:moveTo>
                    <a:pt x="79" y="647"/>
                  </a:moveTo>
                  <a:cubicBezTo>
                    <a:pt x="34" y="639"/>
                    <a:pt x="0" y="600"/>
                    <a:pt x="0" y="554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0" y="147"/>
                    <a:pt x="91" y="33"/>
                    <a:pt x="216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79">
              <a:extLst>
                <a:ext uri="{FF2B5EF4-FFF2-40B4-BE49-F238E27FC236}">
                  <a16:creationId xmlns:a16="http://schemas.microsoft.com/office/drawing/2014/main" xmlns="" id="{3B42CE97-CD33-478B-B0C9-6DB35CF78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" y="3118"/>
              <a:ext cx="35" cy="103"/>
            </a:xfrm>
            <a:custGeom>
              <a:avLst/>
              <a:gdLst>
                <a:gd name="T0" fmla="*/ 0 w 122"/>
                <a:gd name="T1" fmla="*/ 352 h 352"/>
                <a:gd name="T2" fmla="*/ 122 w 122"/>
                <a:gd name="T3" fmla="*/ 171 h 352"/>
                <a:gd name="T4" fmla="*/ 122 w 122"/>
                <a:gd name="T5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" h="352">
                  <a:moveTo>
                    <a:pt x="0" y="352"/>
                  </a:moveTo>
                  <a:cubicBezTo>
                    <a:pt x="71" y="323"/>
                    <a:pt x="122" y="253"/>
                    <a:pt x="122" y="171"/>
                  </a:cubicBezTo>
                  <a:cubicBezTo>
                    <a:pt x="122" y="0"/>
                    <a:pt x="122" y="0"/>
                    <a:pt x="122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80">
              <a:extLst>
                <a:ext uri="{FF2B5EF4-FFF2-40B4-BE49-F238E27FC236}">
                  <a16:creationId xmlns:a16="http://schemas.microsoft.com/office/drawing/2014/main" xmlns="" id="{4BEE99E7-9FA1-487D-A894-AEC5BA7D2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" y="3221"/>
              <a:ext cx="257" cy="168"/>
            </a:xfrm>
            <a:custGeom>
              <a:avLst/>
              <a:gdLst>
                <a:gd name="T0" fmla="*/ 877 w 877"/>
                <a:gd name="T1" fmla="*/ 14 h 575"/>
                <a:gd name="T2" fmla="*/ 877 w 877"/>
                <a:gd name="T3" fmla="*/ 136 h 575"/>
                <a:gd name="T4" fmla="*/ 439 w 877"/>
                <a:gd name="T5" fmla="*/ 575 h 575"/>
                <a:gd name="T6" fmla="*/ 439 w 877"/>
                <a:gd name="T7" fmla="*/ 575 h 575"/>
                <a:gd name="T8" fmla="*/ 0 w 877"/>
                <a:gd name="T9" fmla="*/ 136 h 575"/>
                <a:gd name="T10" fmla="*/ 0 w 877"/>
                <a:gd name="T11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7" h="575">
                  <a:moveTo>
                    <a:pt x="877" y="14"/>
                  </a:moveTo>
                  <a:cubicBezTo>
                    <a:pt x="877" y="136"/>
                    <a:pt x="877" y="136"/>
                    <a:pt x="877" y="136"/>
                  </a:cubicBezTo>
                  <a:cubicBezTo>
                    <a:pt x="877" y="378"/>
                    <a:pt x="681" y="575"/>
                    <a:pt x="439" y="575"/>
                  </a:cubicBezTo>
                  <a:cubicBezTo>
                    <a:pt x="439" y="575"/>
                    <a:pt x="439" y="575"/>
                    <a:pt x="439" y="575"/>
                  </a:cubicBezTo>
                  <a:cubicBezTo>
                    <a:pt x="196" y="575"/>
                    <a:pt x="0" y="378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81">
              <a:extLst>
                <a:ext uri="{FF2B5EF4-FFF2-40B4-BE49-F238E27FC236}">
                  <a16:creationId xmlns:a16="http://schemas.microsoft.com/office/drawing/2014/main" xmlns="" id="{6DE2A806-503C-42CE-836D-82DC366B1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" y="3060"/>
              <a:ext cx="246" cy="220"/>
            </a:xfrm>
            <a:custGeom>
              <a:avLst/>
              <a:gdLst>
                <a:gd name="T0" fmla="*/ 758 w 836"/>
                <a:gd name="T1" fmla="*/ 749 h 749"/>
                <a:gd name="T2" fmla="*/ 836 w 836"/>
                <a:gd name="T3" fmla="*/ 637 h 749"/>
                <a:gd name="T4" fmla="*/ 836 w 836"/>
                <a:gd name="T5" fmla="*/ 390 h 749"/>
                <a:gd name="T6" fmla="*/ 836 w 836"/>
                <a:gd name="T7" fmla="*/ 390 h 749"/>
                <a:gd name="T8" fmla="*/ 446 w 836"/>
                <a:gd name="T9" fmla="*/ 0 h 749"/>
                <a:gd name="T10" fmla="*/ 202 w 836"/>
                <a:gd name="T11" fmla="*/ 0 h 749"/>
                <a:gd name="T12" fmla="*/ 7 w 836"/>
                <a:gd name="T13" fmla="*/ 208 h 749"/>
                <a:gd name="T14" fmla="*/ 208 w 836"/>
                <a:gd name="T15" fmla="*/ 390 h 749"/>
                <a:gd name="T16" fmla="*/ 592 w 836"/>
                <a:gd name="T17" fmla="*/ 390 h 749"/>
                <a:gd name="T18" fmla="*/ 762 w 836"/>
                <a:gd name="T19" fmla="*/ 561 h 749"/>
                <a:gd name="T20" fmla="*/ 762 w 836"/>
                <a:gd name="T21" fmla="*/ 561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6" h="749">
                  <a:moveTo>
                    <a:pt x="758" y="749"/>
                  </a:moveTo>
                  <a:cubicBezTo>
                    <a:pt x="803" y="732"/>
                    <a:pt x="836" y="689"/>
                    <a:pt x="836" y="637"/>
                  </a:cubicBezTo>
                  <a:cubicBezTo>
                    <a:pt x="836" y="390"/>
                    <a:pt x="836" y="390"/>
                    <a:pt x="836" y="390"/>
                  </a:cubicBezTo>
                  <a:cubicBezTo>
                    <a:pt x="836" y="390"/>
                    <a:pt x="836" y="390"/>
                    <a:pt x="836" y="390"/>
                  </a:cubicBezTo>
                  <a:cubicBezTo>
                    <a:pt x="836" y="175"/>
                    <a:pt x="661" y="0"/>
                    <a:pt x="446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90" y="0"/>
                    <a:pt x="0" y="95"/>
                    <a:pt x="7" y="208"/>
                  </a:cubicBezTo>
                  <a:cubicBezTo>
                    <a:pt x="14" y="312"/>
                    <a:pt x="105" y="390"/>
                    <a:pt x="208" y="390"/>
                  </a:cubicBezTo>
                  <a:cubicBezTo>
                    <a:pt x="592" y="390"/>
                    <a:pt x="592" y="390"/>
                    <a:pt x="592" y="390"/>
                  </a:cubicBezTo>
                  <a:cubicBezTo>
                    <a:pt x="686" y="390"/>
                    <a:pt x="762" y="467"/>
                    <a:pt x="762" y="561"/>
                  </a:cubicBezTo>
                  <a:cubicBezTo>
                    <a:pt x="762" y="561"/>
                    <a:pt x="762" y="561"/>
                    <a:pt x="762" y="561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82">
              <a:extLst>
                <a:ext uri="{FF2B5EF4-FFF2-40B4-BE49-F238E27FC236}">
                  <a16:creationId xmlns:a16="http://schemas.microsoft.com/office/drawing/2014/main" xmlns="" id="{27DE1A6F-01BB-4C42-873E-245EF9632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" y="3089"/>
              <a:ext cx="69" cy="35"/>
            </a:xfrm>
            <a:custGeom>
              <a:avLst/>
              <a:gdLst>
                <a:gd name="T0" fmla="*/ 234 w 234"/>
                <a:gd name="T1" fmla="*/ 118 h 118"/>
                <a:gd name="T2" fmla="*/ 0 w 234"/>
                <a:gd name="T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4" h="118">
                  <a:moveTo>
                    <a:pt x="234" y="118"/>
                  </a:moveTo>
                  <a:cubicBezTo>
                    <a:pt x="181" y="46"/>
                    <a:pt x="95" y="0"/>
                    <a:pt x="0" y="0"/>
                  </a:cubicBezTo>
                </a:path>
              </a:pathLst>
            </a:custGeom>
            <a:noFill/>
            <a:ln w="222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Oval 383">
              <a:extLst>
                <a:ext uri="{FF2B5EF4-FFF2-40B4-BE49-F238E27FC236}">
                  <a16:creationId xmlns:a16="http://schemas.microsoft.com/office/drawing/2014/main" xmlns="" id="{8F793051-C476-4CC5-85BF-B3EB5F62F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0" y="3244"/>
              <a:ext cx="22" cy="22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Oval 384">
              <a:extLst>
                <a:ext uri="{FF2B5EF4-FFF2-40B4-BE49-F238E27FC236}">
                  <a16:creationId xmlns:a16="http://schemas.microsoft.com/office/drawing/2014/main" xmlns="" id="{8539B9F9-3F6E-43FC-9219-18307D9B1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7" y="3244"/>
              <a:ext cx="22" cy="22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85">
              <a:extLst>
                <a:ext uri="{FF2B5EF4-FFF2-40B4-BE49-F238E27FC236}">
                  <a16:creationId xmlns:a16="http://schemas.microsoft.com/office/drawing/2014/main" xmlns="" id="{DDBEAF74-ED12-44C5-A50C-A22D999E03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0" y="3330"/>
              <a:ext cx="68" cy="17"/>
            </a:xfrm>
            <a:custGeom>
              <a:avLst/>
              <a:gdLst>
                <a:gd name="T0" fmla="*/ 0 w 231"/>
                <a:gd name="T1" fmla="*/ 0 h 56"/>
                <a:gd name="T2" fmla="*/ 116 w 231"/>
                <a:gd name="T3" fmla="*/ 56 h 56"/>
                <a:gd name="T4" fmla="*/ 231 w 231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1" h="56">
                  <a:moveTo>
                    <a:pt x="0" y="0"/>
                  </a:moveTo>
                  <a:cubicBezTo>
                    <a:pt x="27" y="34"/>
                    <a:pt x="69" y="56"/>
                    <a:pt x="116" y="56"/>
                  </a:cubicBezTo>
                  <a:cubicBezTo>
                    <a:pt x="163" y="56"/>
                    <a:pt x="204" y="34"/>
                    <a:pt x="231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86">
              <a:extLst>
                <a:ext uri="{FF2B5EF4-FFF2-40B4-BE49-F238E27FC236}">
                  <a16:creationId xmlns:a16="http://schemas.microsoft.com/office/drawing/2014/main" xmlns="" id="{99CCDF46-8A5C-493E-9C58-7B599B796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" y="3426"/>
              <a:ext cx="116" cy="188"/>
            </a:xfrm>
            <a:custGeom>
              <a:avLst/>
              <a:gdLst>
                <a:gd name="T0" fmla="*/ 397 w 397"/>
                <a:gd name="T1" fmla="*/ 640 h 640"/>
                <a:gd name="T2" fmla="*/ 397 w 397"/>
                <a:gd name="T3" fmla="*/ 186 h 640"/>
                <a:gd name="T4" fmla="*/ 211 w 397"/>
                <a:gd name="T5" fmla="*/ 0 h 640"/>
                <a:gd name="T6" fmla="*/ 0 w 397"/>
                <a:gd name="T7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640">
                  <a:moveTo>
                    <a:pt x="397" y="640"/>
                  </a:moveTo>
                  <a:cubicBezTo>
                    <a:pt x="397" y="186"/>
                    <a:pt x="397" y="186"/>
                    <a:pt x="397" y="186"/>
                  </a:cubicBezTo>
                  <a:cubicBezTo>
                    <a:pt x="397" y="84"/>
                    <a:pt x="313" y="0"/>
                    <a:pt x="21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87">
              <a:extLst>
                <a:ext uri="{FF2B5EF4-FFF2-40B4-BE49-F238E27FC236}">
                  <a16:creationId xmlns:a16="http://schemas.microsoft.com/office/drawing/2014/main" xmlns="" id="{45A2DFBB-40C7-4E6F-8A56-FC4518E51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" y="3426"/>
              <a:ext cx="117" cy="188"/>
            </a:xfrm>
            <a:custGeom>
              <a:avLst/>
              <a:gdLst>
                <a:gd name="T0" fmla="*/ 0 w 397"/>
                <a:gd name="T1" fmla="*/ 640 h 640"/>
                <a:gd name="T2" fmla="*/ 0 w 397"/>
                <a:gd name="T3" fmla="*/ 592 h 640"/>
                <a:gd name="T4" fmla="*/ 186 w 397"/>
                <a:gd name="T5" fmla="*/ 0 h 640"/>
                <a:gd name="T6" fmla="*/ 397 w 397"/>
                <a:gd name="T7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640">
                  <a:moveTo>
                    <a:pt x="0" y="640"/>
                  </a:moveTo>
                  <a:cubicBezTo>
                    <a:pt x="0" y="592"/>
                    <a:pt x="0" y="592"/>
                    <a:pt x="0" y="592"/>
                  </a:cubicBezTo>
                  <a:cubicBezTo>
                    <a:pt x="0" y="490"/>
                    <a:pt x="84" y="0"/>
                    <a:pt x="186" y="0"/>
                  </a:cubicBezTo>
                  <a:cubicBezTo>
                    <a:pt x="397" y="0"/>
                    <a:pt x="397" y="0"/>
                    <a:pt x="397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88">
              <a:extLst>
                <a:ext uri="{FF2B5EF4-FFF2-40B4-BE49-F238E27FC236}">
                  <a16:creationId xmlns:a16="http://schemas.microsoft.com/office/drawing/2014/main" xmlns="" id="{B17F3C57-CCC0-46CB-AD2F-B3E3C5CC1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3378"/>
              <a:ext cx="83" cy="71"/>
            </a:xfrm>
            <a:custGeom>
              <a:avLst/>
              <a:gdLst>
                <a:gd name="T0" fmla="*/ 281 w 281"/>
                <a:gd name="T1" fmla="*/ 0 h 242"/>
                <a:gd name="T2" fmla="*/ 281 w 281"/>
                <a:gd name="T3" fmla="*/ 164 h 242"/>
                <a:gd name="T4" fmla="*/ 0 w 281"/>
                <a:gd name="T5" fmla="*/ 164 h 242"/>
                <a:gd name="T6" fmla="*/ 0 w 281"/>
                <a:gd name="T7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242">
                  <a:moveTo>
                    <a:pt x="281" y="0"/>
                  </a:moveTo>
                  <a:cubicBezTo>
                    <a:pt x="281" y="164"/>
                    <a:pt x="281" y="164"/>
                    <a:pt x="281" y="164"/>
                  </a:cubicBezTo>
                  <a:cubicBezTo>
                    <a:pt x="203" y="242"/>
                    <a:pt x="78" y="242"/>
                    <a:pt x="0" y="16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89">
              <a:extLst>
                <a:ext uri="{FF2B5EF4-FFF2-40B4-BE49-F238E27FC236}">
                  <a16:creationId xmlns:a16="http://schemas.microsoft.com/office/drawing/2014/main" xmlns="" id="{B8DF9467-44B6-4F26-8288-0576DF63D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" y="3222"/>
              <a:ext cx="34" cy="9"/>
            </a:xfrm>
            <a:custGeom>
              <a:avLst/>
              <a:gdLst>
                <a:gd name="T0" fmla="*/ 0 w 116"/>
                <a:gd name="T1" fmla="*/ 14 h 28"/>
                <a:gd name="T2" fmla="*/ 116 w 116"/>
                <a:gd name="T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6" h="28">
                  <a:moveTo>
                    <a:pt x="0" y="14"/>
                  </a:moveTo>
                  <a:cubicBezTo>
                    <a:pt x="39" y="0"/>
                    <a:pt x="81" y="6"/>
                    <a:pt x="116" y="28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90">
              <a:extLst>
                <a:ext uri="{FF2B5EF4-FFF2-40B4-BE49-F238E27FC236}">
                  <a16:creationId xmlns:a16="http://schemas.microsoft.com/office/drawing/2014/main" xmlns="" id="{BD043531-E8FD-4779-9598-91C60DA41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" y="3222"/>
              <a:ext cx="35" cy="9"/>
            </a:xfrm>
            <a:custGeom>
              <a:avLst/>
              <a:gdLst>
                <a:gd name="T0" fmla="*/ 116 w 116"/>
                <a:gd name="T1" fmla="*/ 14 h 28"/>
                <a:gd name="T2" fmla="*/ 0 w 116"/>
                <a:gd name="T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6" h="28">
                  <a:moveTo>
                    <a:pt x="116" y="14"/>
                  </a:moveTo>
                  <a:cubicBezTo>
                    <a:pt x="77" y="0"/>
                    <a:pt x="35" y="6"/>
                    <a:pt x="0" y="28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91">
              <a:extLst>
                <a:ext uri="{FF2B5EF4-FFF2-40B4-BE49-F238E27FC236}">
                  <a16:creationId xmlns:a16="http://schemas.microsoft.com/office/drawing/2014/main" xmlns="" id="{D16E08A5-7E1F-498E-87CC-AB09AF469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" y="3109"/>
              <a:ext cx="72" cy="64"/>
            </a:xfrm>
            <a:custGeom>
              <a:avLst/>
              <a:gdLst>
                <a:gd name="T0" fmla="*/ 246 w 246"/>
                <a:gd name="T1" fmla="*/ 0 h 216"/>
                <a:gd name="T2" fmla="*/ 0 w 246"/>
                <a:gd name="T3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6" h="216">
                  <a:moveTo>
                    <a:pt x="246" y="0"/>
                  </a:moveTo>
                  <a:cubicBezTo>
                    <a:pt x="136" y="33"/>
                    <a:pt x="47" y="113"/>
                    <a:pt x="0" y="216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92">
              <a:extLst>
                <a:ext uri="{FF2B5EF4-FFF2-40B4-BE49-F238E27FC236}">
                  <a16:creationId xmlns:a16="http://schemas.microsoft.com/office/drawing/2014/main" xmlns="" id="{A5BEC9EB-6133-414A-817D-0537FD488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" y="3077"/>
              <a:ext cx="298" cy="329"/>
            </a:xfrm>
            <a:custGeom>
              <a:avLst/>
              <a:gdLst>
                <a:gd name="T0" fmla="*/ 812 w 1015"/>
                <a:gd name="T1" fmla="*/ 1121 h 1121"/>
                <a:gd name="T2" fmla="*/ 1015 w 1015"/>
                <a:gd name="T3" fmla="*/ 1051 h 1121"/>
                <a:gd name="T4" fmla="*/ 978 w 1015"/>
                <a:gd name="T5" fmla="*/ 864 h 1121"/>
                <a:gd name="T6" fmla="*/ 998 w 1015"/>
                <a:gd name="T7" fmla="*/ 491 h 1121"/>
                <a:gd name="T8" fmla="*/ 508 w 1015"/>
                <a:gd name="T9" fmla="*/ 0 h 1121"/>
                <a:gd name="T10" fmla="*/ 17 w 1015"/>
                <a:gd name="T11" fmla="*/ 491 h 1121"/>
                <a:gd name="T12" fmla="*/ 37 w 1015"/>
                <a:gd name="T13" fmla="*/ 864 h 1121"/>
                <a:gd name="T14" fmla="*/ 0 w 1015"/>
                <a:gd name="T15" fmla="*/ 1051 h 1121"/>
                <a:gd name="T16" fmla="*/ 203 w 1015"/>
                <a:gd name="T17" fmla="*/ 1121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5" h="1121">
                  <a:moveTo>
                    <a:pt x="812" y="1121"/>
                  </a:moveTo>
                  <a:cubicBezTo>
                    <a:pt x="924" y="1098"/>
                    <a:pt x="1015" y="1051"/>
                    <a:pt x="1015" y="1051"/>
                  </a:cubicBezTo>
                  <a:cubicBezTo>
                    <a:pt x="1015" y="1051"/>
                    <a:pt x="989" y="984"/>
                    <a:pt x="978" y="864"/>
                  </a:cubicBezTo>
                  <a:cubicBezTo>
                    <a:pt x="963" y="687"/>
                    <a:pt x="998" y="627"/>
                    <a:pt x="998" y="491"/>
                  </a:cubicBezTo>
                  <a:cubicBezTo>
                    <a:pt x="998" y="220"/>
                    <a:pt x="778" y="0"/>
                    <a:pt x="508" y="0"/>
                  </a:cubicBezTo>
                  <a:cubicBezTo>
                    <a:pt x="237" y="0"/>
                    <a:pt x="17" y="220"/>
                    <a:pt x="17" y="491"/>
                  </a:cubicBezTo>
                  <a:cubicBezTo>
                    <a:pt x="17" y="627"/>
                    <a:pt x="52" y="687"/>
                    <a:pt x="37" y="864"/>
                  </a:cubicBezTo>
                  <a:cubicBezTo>
                    <a:pt x="26" y="984"/>
                    <a:pt x="0" y="1051"/>
                    <a:pt x="0" y="1051"/>
                  </a:cubicBezTo>
                  <a:cubicBezTo>
                    <a:pt x="0" y="1051"/>
                    <a:pt x="91" y="1098"/>
                    <a:pt x="203" y="1121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93">
              <a:extLst>
                <a:ext uri="{FF2B5EF4-FFF2-40B4-BE49-F238E27FC236}">
                  <a16:creationId xmlns:a16="http://schemas.microsoft.com/office/drawing/2014/main" xmlns="" id="{0B114BB7-A8E1-4AB8-9ED7-20EDFBF5A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" y="3135"/>
              <a:ext cx="233" cy="250"/>
            </a:xfrm>
            <a:custGeom>
              <a:avLst/>
              <a:gdLst>
                <a:gd name="T0" fmla="*/ 562 w 793"/>
                <a:gd name="T1" fmla="*/ 71 h 854"/>
                <a:gd name="T2" fmla="*/ 793 w 793"/>
                <a:gd name="T3" fmla="*/ 261 h 854"/>
                <a:gd name="T4" fmla="*/ 793 w 793"/>
                <a:gd name="T5" fmla="*/ 434 h 854"/>
                <a:gd name="T6" fmla="*/ 397 w 793"/>
                <a:gd name="T7" fmla="*/ 854 h 854"/>
                <a:gd name="T8" fmla="*/ 397 w 793"/>
                <a:gd name="T9" fmla="*/ 854 h 854"/>
                <a:gd name="T10" fmla="*/ 397 w 793"/>
                <a:gd name="T11" fmla="*/ 854 h 854"/>
                <a:gd name="T12" fmla="*/ 0 w 793"/>
                <a:gd name="T13" fmla="*/ 434 h 854"/>
                <a:gd name="T14" fmla="*/ 0 w 793"/>
                <a:gd name="T15" fmla="*/ 261 h 854"/>
                <a:gd name="T16" fmla="*/ 634 w 793"/>
                <a:gd name="T17" fmla="*/ 0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3" h="854">
                  <a:moveTo>
                    <a:pt x="562" y="71"/>
                  </a:moveTo>
                  <a:cubicBezTo>
                    <a:pt x="606" y="161"/>
                    <a:pt x="692" y="234"/>
                    <a:pt x="793" y="261"/>
                  </a:cubicBezTo>
                  <a:cubicBezTo>
                    <a:pt x="793" y="434"/>
                    <a:pt x="793" y="434"/>
                    <a:pt x="793" y="434"/>
                  </a:cubicBezTo>
                  <a:cubicBezTo>
                    <a:pt x="793" y="666"/>
                    <a:pt x="629" y="854"/>
                    <a:pt x="397" y="854"/>
                  </a:cubicBezTo>
                  <a:cubicBezTo>
                    <a:pt x="397" y="854"/>
                    <a:pt x="397" y="854"/>
                    <a:pt x="397" y="854"/>
                  </a:cubicBezTo>
                  <a:cubicBezTo>
                    <a:pt x="397" y="854"/>
                    <a:pt x="397" y="854"/>
                    <a:pt x="397" y="854"/>
                  </a:cubicBezTo>
                  <a:cubicBezTo>
                    <a:pt x="164" y="854"/>
                    <a:pt x="0" y="666"/>
                    <a:pt x="0" y="434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250" y="249"/>
                    <a:pt x="446" y="208"/>
                    <a:pt x="634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Line 394">
              <a:extLst>
                <a:ext uri="{FF2B5EF4-FFF2-40B4-BE49-F238E27FC236}">
                  <a16:creationId xmlns:a16="http://schemas.microsoft.com/office/drawing/2014/main" xmlns="" id="{0904F40E-7672-46DA-9BDF-ECC5EB1BB2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22" y="3426"/>
              <a:ext cx="153" cy="185"/>
            </a:xfrm>
            <a:prstGeom prst="line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Line 395">
              <a:extLst>
                <a:ext uri="{FF2B5EF4-FFF2-40B4-BE49-F238E27FC236}">
                  <a16:creationId xmlns:a16="http://schemas.microsoft.com/office/drawing/2014/main" xmlns="" id="{10C95FA4-55F9-4008-8973-0414F818B3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3" y="3426"/>
              <a:ext cx="54" cy="80"/>
            </a:xfrm>
            <a:prstGeom prst="line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396">
              <a:extLst>
                <a:ext uri="{FF2B5EF4-FFF2-40B4-BE49-F238E27FC236}">
                  <a16:creationId xmlns:a16="http://schemas.microsoft.com/office/drawing/2014/main" xmlns="" id="{B35D0583-4B8F-415C-9B8A-7CFE2EA669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71" y="3473"/>
              <a:ext cx="90" cy="160"/>
            </a:xfrm>
            <a:prstGeom prst="line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xmlns="" id="{C41A76DB-E360-4A57-B8A3-1A21B049C3B7}"/>
              </a:ext>
            </a:extLst>
          </p:cNvPr>
          <p:cNvGrpSpPr/>
          <p:nvPr/>
        </p:nvGrpSpPr>
        <p:grpSpPr>
          <a:xfrm>
            <a:off x="10500443" y="5241426"/>
            <a:ext cx="757911" cy="238934"/>
            <a:chOff x="10500443" y="5021211"/>
            <a:chExt cx="757911" cy="238934"/>
          </a:xfrm>
        </p:grpSpPr>
        <p:sp>
          <p:nvSpPr>
            <p:cNvPr id="162" name="Oval 325">
              <a:extLst>
                <a:ext uri="{FF2B5EF4-FFF2-40B4-BE49-F238E27FC236}">
                  <a16:creationId xmlns:a16="http://schemas.microsoft.com/office/drawing/2014/main" xmlns="" id="{132F48A2-8945-46FA-95DB-62B675A49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00443" y="5080302"/>
              <a:ext cx="88637" cy="75791"/>
            </a:xfrm>
            <a:prstGeom prst="ellips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Line 355">
              <a:extLst>
                <a:ext uri="{FF2B5EF4-FFF2-40B4-BE49-F238E27FC236}">
                  <a16:creationId xmlns:a16="http://schemas.microsoft.com/office/drawing/2014/main" xmlns="" id="{088F1172-8AAE-4DA0-8B84-6B52A92C53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144025" y="5102140"/>
              <a:ext cx="69368" cy="0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319">
              <a:extLst>
                <a:ext uri="{FF2B5EF4-FFF2-40B4-BE49-F238E27FC236}">
                  <a16:creationId xmlns:a16="http://schemas.microsoft.com/office/drawing/2014/main" xmlns="" id="{080ECDE0-49AA-46E8-B513-17C5412EA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5127" y="5105994"/>
              <a:ext cx="19269" cy="24407"/>
            </a:xfrm>
            <a:prstGeom prst="ellipse">
              <a:avLst/>
            </a:prstGeom>
            <a:solidFill>
              <a:srgbClr val="1B1B1B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20">
              <a:extLst>
                <a:ext uri="{FF2B5EF4-FFF2-40B4-BE49-F238E27FC236}">
                  <a16:creationId xmlns:a16="http://schemas.microsoft.com/office/drawing/2014/main" xmlns="" id="{08D4681F-3F64-43AA-94F4-6A3522049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48171" y="5105994"/>
              <a:ext cx="19269" cy="24407"/>
            </a:xfrm>
            <a:prstGeom prst="ellipse">
              <a:avLst/>
            </a:prstGeom>
            <a:solidFill>
              <a:srgbClr val="1B1B1B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321">
              <a:extLst>
                <a:ext uri="{FF2B5EF4-FFF2-40B4-BE49-F238E27FC236}">
                  <a16:creationId xmlns:a16="http://schemas.microsoft.com/office/drawing/2014/main" xmlns="" id="{6761774C-E9EA-499C-8316-38D74C12F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365" y="5165085"/>
              <a:ext cx="21838" cy="3854"/>
            </a:xfrm>
            <a:custGeom>
              <a:avLst/>
              <a:gdLst>
                <a:gd name="T0" fmla="*/ 0 w 56"/>
                <a:gd name="T1" fmla="*/ 0 h 12"/>
                <a:gd name="T2" fmla="*/ 28 w 56"/>
                <a:gd name="T3" fmla="*/ 12 h 12"/>
                <a:gd name="T4" fmla="*/ 56 w 5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2">
                  <a:moveTo>
                    <a:pt x="0" y="0"/>
                  </a:moveTo>
                  <a:cubicBezTo>
                    <a:pt x="4" y="7"/>
                    <a:pt x="15" y="12"/>
                    <a:pt x="28" y="12"/>
                  </a:cubicBezTo>
                  <a:cubicBezTo>
                    <a:pt x="40" y="12"/>
                    <a:pt x="51" y="7"/>
                    <a:pt x="56" y="0"/>
                  </a:cubicBezTo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322">
              <a:extLst>
                <a:ext uri="{FF2B5EF4-FFF2-40B4-BE49-F238E27FC236}">
                  <a16:creationId xmlns:a16="http://schemas.microsoft.com/office/drawing/2014/main" xmlns="" id="{C93F90B0-6B65-40F3-AA9E-E626C44C4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0365" y="5105994"/>
              <a:ext cx="21838" cy="5138"/>
            </a:xfrm>
            <a:custGeom>
              <a:avLst/>
              <a:gdLst>
                <a:gd name="T0" fmla="*/ 56 w 56"/>
                <a:gd name="T1" fmla="*/ 12 h 12"/>
                <a:gd name="T2" fmla="*/ 28 w 56"/>
                <a:gd name="T3" fmla="*/ 0 h 12"/>
                <a:gd name="T4" fmla="*/ 0 w 5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2">
                  <a:moveTo>
                    <a:pt x="56" y="12"/>
                  </a:moveTo>
                  <a:cubicBezTo>
                    <a:pt x="51" y="5"/>
                    <a:pt x="40" y="0"/>
                    <a:pt x="28" y="0"/>
                  </a:cubicBezTo>
                  <a:cubicBezTo>
                    <a:pt x="15" y="0"/>
                    <a:pt x="4" y="5"/>
                    <a:pt x="0" y="12"/>
                  </a:cubicBezTo>
                </a:path>
              </a:pathLst>
            </a:cu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323">
              <a:extLst>
                <a:ext uri="{FF2B5EF4-FFF2-40B4-BE49-F238E27FC236}">
                  <a16:creationId xmlns:a16="http://schemas.microsoft.com/office/drawing/2014/main" xmlns="" id="{F87BA6FE-788D-4B11-9658-98485333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5226" y="5221607"/>
              <a:ext cx="32115" cy="3854"/>
            </a:xfrm>
            <a:custGeom>
              <a:avLst/>
              <a:gdLst>
                <a:gd name="T0" fmla="*/ 0 w 80"/>
                <a:gd name="T1" fmla="*/ 0 h 12"/>
                <a:gd name="T2" fmla="*/ 40 w 80"/>
                <a:gd name="T3" fmla="*/ 12 h 12"/>
                <a:gd name="T4" fmla="*/ 80 w 8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12">
                  <a:moveTo>
                    <a:pt x="0" y="0"/>
                  </a:moveTo>
                  <a:cubicBezTo>
                    <a:pt x="7" y="7"/>
                    <a:pt x="22" y="12"/>
                    <a:pt x="40" y="12"/>
                  </a:cubicBezTo>
                  <a:cubicBezTo>
                    <a:pt x="58" y="12"/>
                    <a:pt x="73" y="7"/>
                    <a:pt x="80" y="0"/>
                  </a:cubicBezTo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324">
              <a:extLst>
                <a:ext uri="{FF2B5EF4-FFF2-40B4-BE49-F238E27FC236}">
                  <a16:creationId xmlns:a16="http://schemas.microsoft.com/office/drawing/2014/main" xmlns="" id="{2D5A2870-BCC7-454C-96FA-9927DB74F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3111" y="5181785"/>
              <a:ext cx="95060" cy="24407"/>
            </a:xfrm>
            <a:custGeom>
              <a:avLst/>
              <a:gdLst>
                <a:gd name="T0" fmla="*/ 224 w 240"/>
                <a:gd name="T1" fmla="*/ 62 h 62"/>
                <a:gd name="T2" fmla="*/ 16 w 240"/>
                <a:gd name="T3" fmla="*/ 62 h 62"/>
                <a:gd name="T4" fmla="*/ 5 w 240"/>
                <a:gd name="T5" fmla="*/ 42 h 62"/>
                <a:gd name="T6" fmla="*/ 28 w 240"/>
                <a:gd name="T7" fmla="*/ 6 h 62"/>
                <a:gd name="T8" fmla="*/ 39 w 240"/>
                <a:gd name="T9" fmla="*/ 0 h 62"/>
                <a:gd name="T10" fmla="*/ 201 w 240"/>
                <a:gd name="T11" fmla="*/ 0 h 62"/>
                <a:gd name="T12" fmla="*/ 212 w 240"/>
                <a:gd name="T13" fmla="*/ 6 h 62"/>
                <a:gd name="T14" fmla="*/ 234 w 240"/>
                <a:gd name="T15" fmla="*/ 42 h 62"/>
                <a:gd name="T16" fmla="*/ 224 w 240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62">
                  <a:moveTo>
                    <a:pt x="224" y="62"/>
                  </a:moveTo>
                  <a:cubicBezTo>
                    <a:pt x="16" y="62"/>
                    <a:pt x="16" y="62"/>
                    <a:pt x="16" y="62"/>
                  </a:cubicBezTo>
                  <a:cubicBezTo>
                    <a:pt x="6" y="62"/>
                    <a:pt x="0" y="50"/>
                    <a:pt x="5" y="42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3"/>
                    <a:pt x="35" y="0"/>
                    <a:pt x="39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5" y="0"/>
                    <a:pt x="209" y="3"/>
                    <a:pt x="212" y="6"/>
                  </a:cubicBezTo>
                  <a:cubicBezTo>
                    <a:pt x="234" y="42"/>
                    <a:pt x="234" y="42"/>
                    <a:pt x="234" y="42"/>
                  </a:cubicBezTo>
                  <a:cubicBezTo>
                    <a:pt x="240" y="50"/>
                    <a:pt x="234" y="62"/>
                    <a:pt x="224" y="62"/>
                  </a:cubicBezTo>
                  <a:close/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326">
              <a:extLst>
                <a:ext uri="{FF2B5EF4-FFF2-40B4-BE49-F238E27FC236}">
                  <a16:creationId xmlns:a16="http://schemas.microsoft.com/office/drawing/2014/main" xmlns="" id="{EB58AEAE-4397-41BA-950A-24809044F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3487" y="5080302"/>
              <a:ext cx="88637" cy="75791"/>
            </a:xfrm>
            <a:prstGeom prst="ellips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Line 327">
              <a:extLst>
                <a:ext uri="{FF2B5EF4-FFF2-40B4-BE49-F238E27FC236}">
                  <a16:creationId xmlns:a16="http://schemas.microsoft.com/office/drawing/2014/main" xmlns="" id="{2EF87F58-F967-435B-8AC8-C1ED9720E6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571096" y="5021211"/>
              <a:ext cx="59091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Line 328">
              <a:extLst>
                <a:ext uri="{FF2B5EF4-FFF2-40B4-BE49-F238E27FC236}">
                  <a16:creationId xmlns:a16="http://schemas.microsoft.com/office/drawing/2014/main" xmlns="" id="{FD293A69-B061-433A-9AE3-6978C1F18C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554396" y="5043049"/>
              <a:ext cx="93775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Line 329">
              <a:extLst>
                <a:ext uri="{FF2B5EF4-FFF2-40B4-BE49-F238E27FC236}">
                  <a16:creationId xmlns:a16="http://schemas.microsoft.com/office/drawing/2014/main" xmlns="" id="{DE2EC3DE-382A-4C84-AB77-FDE3E00701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559534" y="5066171"/>
              <a:ext cx="83499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Oval 349">
              <a:extLst>
                <a:ext uri="{FF2B5EF4-FFF2-40B4-BE49-F238E27FC236}">
                  <a16:creationId xmlns:a16="http://schemas.microsoft.com/office/drawing/2014/main" xmlns="" id="{832953A2-9147-4C01-A25C-66C3E42C0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1910" y="5148385"/>
              <a:ext cx="19269" cy="21838"/>
            </a:xfrm>
            <a:prstGeom prst="ellipse">
              <a:avLst/>
            </a:prstGeom>
            <a:solidFill>
              <a:srgbClr val="1B1B1B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350">
              <a:extLst>
                <a:ext uri="{FF2B5EF4-FFF2-40B4-BE49-F238E27FC236}">
                  <a16:creationId xmlns:a16="http://schemas.microsoft.com/office/drawing/2014/main" xmlns="" id="{D4BDECC0-DCE3-489E-892A-4DF2BF8F5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26239" y="5148385"/>
              <a:ext cx="17984" cy="21838"/>
            </a:xfrm>
            <a:prstGeom prst="ellipse">
              <a:avLst/>
            </a:prstGeom>
            <a:solidFill>
              <a:srgbClr val="1B1B1B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51">
              <a:extLst>
                <a:ext uri="{FF2B5EF4-FFF2-40B4-BE49-F238E27FC236}">
                  <a16:creationId xmlns:a16="http://schemas.microsoft.com/office/drawing/2014/main" xmlns="" id="{398C9987-3B65-41A7-8F64-6B443D2CC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5310" y="5238307"/>
              <a:ext cx="66799" cy="6423"/>
            </a:xfrm>
            <a:custGeom>
              <a:avLst/>
              <a:gdLst>
                <a:gd name="T0" fmla="*/ 0 w 168"/>
                <a:gd name="T1" fmla="*/ 0 h 17"/>
                <a:gd name="T2" fmla="*/ 84 w 168"/>
                <a:gd name="T3" fmla="*/ 17 h 17"/>
                <a:gd name="T4" fmla="*/ 168 w 168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8" h="17">
                  <a:moveTo>
                    <a:pt x="0" y="0"/>
                  </a:moveTo>
                  <a:cubicBezTo>
                    <a:pt x="14" y="9"/>
                    <a:pt x="46" y="17"/>
                    <a:pt x="84" y="17"/>
                  </a:cubicBezTo>
                  <a:cubicBezTo>
                    <a:pt x="121" y="17"/>
                    <a:pt x="153" y="9"/>
                    <a:pt x="168" y="0"/>
                  </a:cubicBezTo>
                </a:path>
              </a:pathLst>
            </a:cu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52">
              <a:extLst>
                <a:ext uri="{FF2B5EF4-FFF2-40B4-BE49-F238E27FC236}">
                  <a16:creationId xmlns:a16="http://schemas.microsoft.com/office/drawing/2014/main" xmlns="" id="{3ADBC765-0745-49B6-909D-6B007E84E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7148" y="5204908"/>
              <a:ext cx="23123" cy="5138"/>
            </a:xfrm>
            <a:custGeom>
              <a:avLst/>
              <a:gdLst>
                <a:gd name="T0" fmla="*/ 0 w 57"/>
                <a:gd name="T1" fmla="*/ 0 h 12"/>
                <a:gd name="T2" fmla="*/ 29 w 57"/>
                <a:gd name="T3" fmla="*/ 12 h 12"/>
                <a:gd name="T4" fmla="*/ 57 w 5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12">
                  <a:moveTo>
                    <a:pt x="0" y="0"/>
                  </a:moveTo>
                  <a:cubicBezTo>
                    <a:pt x="5" y="7"/>
                    <a:pt x="16" y="12"/>
                    <a:pt x="29" y="12"/>
                  </a:cubicBezTo>
                  <a:cubicBezTo>
                    <a:pt x="41" y="12"/>
                    <a:pt x="52" y="7"/>
                    <a:pt x="57" y="0"/>
                  </a:cubicBezTo>
                </a:path>
              </a:pathLst>
            </a:cu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3">
              <a:extLst>
                <a:ext uri="{FF2B5EF4-FFF2-40B4-BE49-F238E27FC236}">
                  <a16:creationId xmlns:a16="http://schemas.microsoft.com/office/drawing/2014/main" xmlns="" id="{8E727C87-1A21-4A83-9D23-3A51FDFEB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3294" y="5256291"/>
              <a:ext cx="30830" cy="3854"/>
            </a:xfrm>
            <a:custGeom>
              <a:avLst/>
              <a:gdLst>
                <a:gd name="T0" fmla="*/ 0 w 79"/>
                <a:gd name="T1" fmla="*/ 0 h 8"/>
                <a:gd name="T2" fmla="*/ 40 w 79"/>
                <a:gd name="T3" fmla="*/ 8 h 8"/>
                <a:gd name="T4" fmla="*/ 79 w 79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9" h="8">
                  <a:moveTo>
                    <a:pt x="0" y="0"/>
                  </a:moveTo>
                  <a:cubicBezTo>
                    <a:pt x="7" y="5"/>
                    <a:pt x="22" y="8"/>
                    <a:pt x="40" y="8"/>
                  </a:cubicBezTo>
                  <a:cubicBezTo>
                    <a:pt x="57" y="8"/>
                    <a:pt x="73" y="5"/>
                    <a:pt x="79" y="0"/>
                  </a:cubicBezTo>
                </a:path>
              </a:pathLst>
            </a:cu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Line 354">
              <a:extLst>
                <a:ext uri="{FF2B5EF4-FFF2-40B4-BE49-F238E27FC236}">
                  <a16:creationId xmlns:a16="http://schemas.microsoft.com/office/drawing/2014/main" xmlns="" id="{D2F4C0C8-0FF2-47AE-A984-6E5CA42B0CD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138887" y="5123978"/>
              <a:ext cx="78360" cy="0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Line 356">
              <a:extLst>
                <a:ext uri="{FF2B5EF4-FFF2-40B4-BE49-F238E27FC236}">
                  <a16:creationId xmlns:a16="http://schemas.microsoft.com/office/drawing/2014/main" xmlns="" id="{85048A8E-1A06-4317-9F14-1FE441918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24955" y="5170224"/>
              <a:ext cx="20554" cy="0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Line 357">
              <a:extLst>
                <a:ext uri="{FF2B5EF4-FFF2-40B4-BE49-F238E27FC236}">
                  <a16:creationId xmlns:a16="http://schemas.microsoft.com/office/drawing/2014/main" xmlns="" id="{691147CC-5D4E-4ABD-85E7-A6C2ACFF00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111910" y="5170224"/>
              <a:ext cx="20554" cy="0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Line 358">
              <a:extLst>
                <a:ext uri="{FF2B5EF4-FFF2-40B4-BE49-F238E27FC236}">
                  <a16:creationId xmlns:a16="http://schemas.microsoft.com/office/drawing/2014/main" xmlns="" id="{9844F76C-881F-40FC-AE2E-B1E7A228CD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245508" y="5163801"/>
              <a:ext cx="12846" cy="6423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Line 359">
              <a:extLst>
                <a:ext uri="{FF2B5EF4-FFF2-40B4-BE49-F238E27FC236}">
                  <a16:creationId xmlns:a16="http://schemas.microsoft.com/office/drawing/2014/main" xmlns="" id="{C6F10D83-D0ED-44B5-A3DE-3BB5CD5AE4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45508" y="5170224"/>
              <a:ext cx="12846" cy="5138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Line 360">
              <a:extLst>
                <a:ext uri="{FF2B5EF4-FFF2-40B4-BE49-F238E27FC236}">
                  <a16:creationId xmlns:a16="http://schemas.microsoft.com/office/drawing/2014/main" xmlns="" id="{8315BA45-4B21-4BE5-838E-FDFA8DBA6F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1097780" y="5163801"/>
              <a:ext cx="12846" cy="6423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Line 361">
              <a:extLst>
                <a:ext uri="{FF2B5EF4-FFF2-40B4-BE49-F238E27FC236}">
                  <a16:creationId xmlns:a16="http://schemas.microsoft.com/office/drawing/2014/main" xmlns="" id="{7EF636B3-20C1-402A-AC47-F893CCBD83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097780" y="5170224"/>
              <a:ext cx="12846" cy="5138"/>
            </a:xfrm>
            <a:prstGeom prst="lin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4719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F9E99-4BBF-4ED8-9E9A-B2ADF6C1B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atin typeface="Gill Sans MT" panose="020B0502020104020203" pitchFamily="34" charset="0"/>
              </a:rPr>
              <a:t>Covid-19 deaths in India vs Population</a:t>
            </a:r>
            <a:endParaRPr lang="en-IN" sz="3600" dirty="0">
              <a:latin typeface="Gill Sans MT" panose="020B0502020104020203" pitchFamily="34" charset="0"/>
            </a:endParaRPr>
          </a:p>
        </p:txBody>
      </p:sp>
      <p:graphicFrame>
        <p:nvGraphicFramePr>
          <p:cNvPr id="186" name="Chart 185">
            <a:extLst>
              <a:ext uri="{FF2B5EF4-FFF2-40B4-BE49-F238E27FC236}">
                <a16:creationId xmlns:a16="http://schemas.microsoft.com/office/drawing/2014/main" xmlns="" id="{D1F9525A-B353-498E-BB4C-DF8EA35A04C3}"/>
              </a:ext>
            </a:extLst>
          </p:cNvPr>
          <p:cNvGraphicFramePr/>
          <p:nvPr>
            <p:custDataLst>
              <p:tags r:id="rId1"/>
            </p:custDataLst>
            <p:extLst/>
          </p:nvPr>
        </p:nvGraphicFramePr>
        <p:xfrm>
          <a:off x="317500" y="2411413"/>
          <a:ext cx="11558588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87" name="Rectangle 186">
            <a:extLst>
              <a:ext uri="{FF2B5EF4-FFF2-40B4-BE49-F238E27FC236}">
                <a16:creationId xmlns:a16="http://schemas.microsoft.com/office/drawing/2014/main" xmlns="" id="{2B87A6F6-DDB6-45E2-BC76-E2A8BA54325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2522538" y="4570413"/>
            <a:ext cx="1450975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583DD7-A8DA-450A-80A9-23F57A741128}" type="datetime'6''0'' ''''''''''''''''to ''''''''''74'' ''''''''y''''''rs'''">
              <a:rPr lang="en-US" altLang="en-US" sz="2400" smtClean="0">
                <a:solidFill>
                  <a:schemeClr val="accent1"/>
                </a:solidFill>
                <a:sym typeface="+mn-lt"/>
              </a:rPr>
              <a:pPr/>
              <a:t>60 to 74 yrs</a:t>
            </a:fld>
            <a:endParaRPr lang="en-US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xmlns="" id="{E6230828-1C53-43E7-B2CF-3014A07E037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420100" y="4570413"/>
            <a:ext cx="1052513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C62FBA-1BDB-4285-8955-1D64E9621A54}" type="datetime'&gt;''''''''=''''''7''''''''5'''''''''''' ''y''''''r''''s'''''">
              <a:rPr lang="en-US" altLang="en-US" sz="2400" smtClean="0">
                <a:solidFill>
                  <a:schemeClr val="accent1"/>
                </a:solidFill>
                <a:sym typeface="+mn-lt"/>
              </a:rPr>
              <a:pPr/>
              <a:t>&gt;=75 yrs</a:t>
            </a:fld>
            <a:endParaRPr lang="en-US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xmlns="" id="{71250BED-5FF0-48F6-B70C-A610F3B9159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963738" y="3763963"/>
            <a:ext cx="37782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58A974-7537-4393-A243-C14AE451F68B}" type="datetime'''''''''''8''''''''%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xmlns="" id="{50823CD8-825F-4936-B4F5-ED030B7A6DA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041775" y="2139950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FD6A11-3DFD-4362-ACA3-09C1261B6589}" type="datetime'''''''''''''3''''''''''''''''''''''9%'''''''''''''''">
              <a:rPr lang="en-US" altLang="en-US" sz="2400" b="1" smtClean="0">
                <a:solidFill>
                  <a:srgbClr val="C00000"/>
                </a:solidFill>
              </a:rPr>
              <a:pPr/>
              <a:t>39%</a:t>
            </a:fld>
            <a:endParaRPr lang="en-US" sz="2400" b="1">
              <a:solidFill>
                <a:srgbClr val="C00000"/>
              </a:solidFill>
              <a:sym typeface="+mn-lt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xmlns="" id="{A0235B8B-9FBE-408C-A5E3-5B5BF19BD0A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737725" y="3405188"/>
            <a:ext cx="606425" cy="328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8100" tIns="0" rIns="381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562535-BBEC-4FEA-A423-821AB74E0570}" type="datetime'''''''''''''1''''''''''''''4''''''%'''''''">
              <a:rPr lang="en-US" altLang="en-US" sz="2400" b="1" smtClean="0">
                <a:solidFill>
                  <a:srgbClr val="C00000"/>
                </a:solidFill>
              </a:rPr>
              <a:pPr/>
              <a:t>14%</a:t>
            </a:fld>
            <a:endParaRPr lang="en-US" sz="2400" b="1">
              <a:solidFill>
                <a:srgbClr val="C00000"/>
              </a:solidFill>
              <a:sym typeface="+mn-lt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xmlns="" id="{0E842BF8-0A66-4647-9377-CB632AB206A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661275" y="4067175"/>
            <a:ext cx="377825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310444-4D47-4661-B074-F60BBD9E1844}" type="datetime'''''''''''''''''''''''2''''''''''''''''''''''%'''''''''''">
              <a:rPr lang="en-US" altLang="en-US" sz="2000" b="1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en-US" sz="2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xmlns="" id="{49E1FEAA-53CB-4EE4-81E1-3DC06F867A68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274763" y="6205538"/>
            <a:ext cx="322263" cy="241300"/>
          </a:xfrm>
          <a:prstGeom prst="rect">
            <a:avLst/>
          </a:prstGeom>
          <a:solidFill>
            <a:srgbClr val="BDD2FF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xmlns="" id="{87F0F697-5F11-4AB9-AF6A-68803D83945C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021263" y="6205538"/>
            <a:ext cx="322263" cy="241300"/>
          </a:xfrm>
          <a:prstGeom prst="rect">
            <a:avLst/>
          </a:prstGeom>
          <a:solidFill>
            <a:srgbClr val="670F31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xmlns="" id="{8D60C564-23B9-42FF-A19C-1F38309F8DB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647825" y="6199188"/>
            <a:ext cx="3271838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75807E-F10A-4F8E-98D1-D986E3EF9542}" type="datetime'''''%'''' ''of'' India’s popul''a''tio''n in giv''en'' age'''">
              <a:rPr lang="en-US" altLang="en-US" smtClean="0">
                <a:solidFill>
                  <a:schemeClr val="tx1"/>
                </a:solidFill>
              </a:rPr>
              <a:pPr/>
              <a:t>% of India’s population in given ag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xmlns="" id="{54BB3A55-E5DD-4320-9E23-2F332B2EF9C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5394325" y="6199188"/>
            <a:ext cx="4368800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E0BAC6A-1473-4F5C-8C66-42192D4F370F}" type="datetime'% of In''''d''ia’s Covid''-19 linked ''deaths in gi''ven age'">
              <a:rPr lang="en-US" altLang="en-US" smtClean="0">
                <a:solidFill>
                  <a:schemeClr val="tx1"/>
                </a:solidFill>
              </a:rPr>
              <a:pPr/>
              <a:t>% of India’s Covid-19 linked deaths in given age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xmlns="" id="{6D55279D-7777-49B5-9EA0-96B1A9790650}"/>
              </a:ext>
            </a:extLst>
          </p:cNvPr>
          <p:cNvGrpSpPr/>
          <p:nvPr/>
        </p:nvGrpSpPr>
        <p:grpSpPr>
          <a:xfrm>
            <a:off x="2718140" y="4931446"/>
            <a:ext cx="1048621" cy="887531"/>
            <a:chOff x="8507419" y="4892680"/>
            <a:chExt cx="1000118" cy="838193"/>
          </a:xfrm>
        </p:grpSpPr>
        <p:sp>
          <p:nvSpPr>
            <p:cNvPr id="198" name="Freeform 279">
              <a:extLst>
                <a:ext uri="{FF2B5EF4-FFF2-40B4-BE49-F238E27FC236}">
                  <a16:creationId xmlns:a16="http://schemas.microsoft.com/office/drawing/2014/main" xmlns="" id="{C4CBBF4E-5A0A-47BD-90E6-94E72027B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4423" y="5102229"/>
              <a:ext cx="50801" cy="0"/>
            </a:xfrm>
            <a:custGeom>
              <a:avLst/>
              <a:gdLst>
                <a:gd name="T0" fmla="*/ 0 w 32"/>
                <a:gd name="T1" fmla="*/ 17 w 32"/>
                <a:gd name="T2" fmla="*/ 32 w 3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">
                  <a:moveTo>
                    <a:pt x="0" y="0"/>
                  </a:moveTo>
                  <a:lnTo>
                    <a:pt x="17" y="0"/>
                  </a:lnTo>
                  <a:lnTo>
                    <a:pt x="32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280">
              <a:extLst>
                <a:ext uri="{FF2B5EF4-FFF2-40B4-BE49-F238E27FC236}">
                  <a16:creationId xmlns:a16="http://schemas.microsoft.com/office/drawing/2014/main" xmlns="" id="{8D6199E8-8390-42E8-A361-2A1C594EC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1111" y="5102229"/>
              <a:ext cx="49213" cy="0"/>
            </a:xfrm>
            <a:custGeom>
              <a:avLst/>
              <a:gdLst>
                <a:gd name="T0" fmla="*/ 31 w 31"/>
                <a:gd name="T1" fmla="*/ 15 w 31"/>
                <a:gd name="T2" fmla="*/ 0 w 3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1">
                  <a:moveTo>
                    <a:pt x="31" y="0"/>
                  </a:move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Oval 281">
              <a:extLst>
                <a:ext uri="{FF2B5EF4-FFF2-40B4-BE49-F238E27FC236}">
                  <a16:creationId xmlns:a16="http://schemas.microsoft.com/office/drawing/2014/main" xmlns="" id="{83CED7F1-1EF9-41B8-97C6-60A6AA8023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5873" y="5137154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Oval 282">
              <a:extLst>
                <a:ext uri="{FF2B5EF4-FFF2-40B4-BE49-F238E27FC236}">
                  <a16:creationId xmlns:a16="http://schemas.microsoft.com/office/drawing/2014/main" xmlns="" id="{FE05843B-6A32-47C3-A5AC-1E9A6D3C5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7123" y="5137154"/>
              <a:ext cx="31750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283">
              <a:extLst>
                <a:ext uri="{FF2B5EF4-FFF2-40B4-BE49-F238E27FC236}">
                  <a16:creationId xmlns:a16="http://schemas.microsoft.com/office/drawing/2014/main" xmlns="" id="{05BEC5F3-EEEA-4734-B24B-D03FF1FD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861" y="5006979"/>
              <a:ext cx="328613" cy="269876"/>
            </a:xfrm>
            <a:custGeom>
              <a:avLst/>
              <a:gdLst>
                <a:gd name="T0" fmla="*/ 0 w 771"/>
                <a:gd name="T1" fmla="*/ 51 h 634"/>
                <a:gd name="T2" fmla="*/ 0 w 771"/>
                <a:gd name="T3" fmla="*/ 393 h 634"/>
                <a:gd name="T4" fmla="*/ 169 w 771"/>
                <a:gd name="T5" fmla="*/ 634 h 634"/>
                <a:gd name="T6" fmla="*/ 181 w 771"/>
                <a:gd name="T7" fmla="*/ 616 h 634"/>
                <a:gd name="T8" fmla="*/ 286 w 771"/>
                <a:gd name="T9" fmla="*/ 560 h 634"/>
                <a:gd name="T10" fmla="*/ 386 w 771"/>
                <a:gd name="T11" fmla="*/ 560 h 634"/>
                <a:gd name="T12" fmla="*/ 485 w 771"/>
                <a:gd name="T13" fmla="*/ 560 h 634"/>
                <a:gd name="T14" fmla="*/ 590 w 771"/>
                <a:gd name="T15" fmla="*/ 616 h 634"/>
                <a:gd name="T16" fmla="*/ 602 w 771"/>
                <a:gd name="T17" fmla="*/ 634 h 634"/>
                <a:gd name="T18" fmla="*/ 771 w 771"/>
                <a:gd name="T19" fmla="*/ 393 h 634"/>
                <a:gd name="T20" fmla="*/ 771 w 771"/>
                <a:gd name="T21" fmla="*/ 0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1" h="634">
                  <a:moveTo>
                    <a:pt x="0" y="51"/>
                  </a:moveTo>
                  <a:cubicBezTo>
                    <a:pt x="0" y="393"/>
                    <a:pt x="0" y="393"/>
                    <a:pt x="0" y="393"/>
                  </a:cubicBezTo>
                  <a:cubicBezTo>
                    <a:pt x="0" y="505"/>
                    <a:pt x="76" y="603"/>
                    <a:pt x="169" y="634"/>
                  </a:cubicBezTo>
                  <a:cubicBezTo>
                    <a:pt x="181" y="616"/>
                    <a:pt x="181" y="616"/>
                    <a:pt x="181" y="616"/>
                  </a:cubicBezTo>
                  <a:cubicBezTo>
                    <a:pt x="204" y="581"/>
                    <a:pt x="244" y="560"/>
                    <a:pt x="286" y="560"/>
                  </a:cubicBezTo>
                  <a:cubicBezTo>
                    <a:pt x="386" y="560"/>
                    <a:pt x="386" y="560"/>
                    <a:pt x="386" y="560"/>
                  </a:cubicBezTo>
                  <a:cubicBezTo>
                    <a:pt x="485" y="560"/>
                    <a:pt x="485" y="560"/>
                    <a:pt x="485" y="560"/>
                  </a:cubicBezTo>
                  <a:cubicBezTo>
                    <a:pt x="527" y="560"/>
                    <a:pt x="567" y="581"/>
                    <a:pt x="590" y="616"/>
                  </a:cubicBezTo>
                  <a:cubicBezTo>
                    <a:pt x="602" y="634"/>
                    <a:pt x="602" y="634"/>
                    <a:pt x="602" y="634"/>
                  </a:cubicBezTo>
                  <a:cubicBezTo>
                    <a:pt x="696" y="603"/>
                    <a:pt x="771" y="505"/>
                    <a:pt x="771" y="393"/>
                  </a:cubicBezTo>
                  <a:cubicBezTo>
                    <a:pt x="771" y="0"/>
                    <a:pt x="771" y="0"/>
                    <a:pt x="771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284">
              <a:extLst>
                <a:ext uri="{FF2B5EF4-FFF2-40B4-BE49-F238E27FC236}">
                  <a16:creationId xmlns:a16="http://schemas.microsoft.com/office/drawing/2014/main" xmlns="" id="{937E9464-8A78-490A-AEE0-D1B59BBC8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3811" y="4938717"/>
              <a:ext cx="69850" cy="17463"/>
            </a:xfrm>
            <a:custGeom>
              <a:avLst/>
              <a:gdLst>
                <a:gd name="T0" fmla="*/ 163 w 163"/>
                <a:gd name="T1" fmla="*/ 41 h 41"/>
                <a:gd name="T2" fmla="*/ 73 w 163"/>
                <a:gd name="T3" fmla="*/ 0 h 41"/>
                <a:gd name="T4" fmla="*/ 0 w 163"/>
                <a:gd name="T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3" h="41">
                  <a:moveTo>
                    <a:pt x="163" y="41"/>
                  </a:moveTo>
                  <a:cubicBezTo>
                    <a:pt x="142" y="16"/>
                    <a:pt x="109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285">
              <a:extLst>
                <a:ext uri="{FF2B5EF4-FFF2-40B4-BE49-F238E27FC236}">
                  <a16:creationId xmlns:a16="http://schemas.microsoft.com/office/drawing/2014/main" xmlns="" id="{ED06267E-2711-4393-A553-8D250A1CB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7111" y="4897442"/>
              <a:ext cx="390526" cy="492125"/>
            </a:xfrm>
            <a:custGeom>
              <a:avLst/>
              <a:gdLst>
                <a:gd name="T0" fmla="*/ 458 w 915"/>
                <a:gd name="T1" fmla="*/ 1156 h 1156"/>
                <a:gd name="T2" fmla="*/ 915 w 915"/>
                <a:gd name="T3" fmla="*/ 674 h 1156"/>
                <a:gd name="T4" fmla="*/ 915 w 915"/>
                <a:gd name="T5" fmla="*/ 337 h 1156"/>
                <a:gd name="T6" fmla="*/ 915 w 915"/>
                <a:gd name="T7" fmla="*/ 216 h 1156"/>
                <a:gd name="T8" fmla="*/ 699 w 915"/>
                <a:gd name="T9" fmla="*/ 0 h 1156"/>
                <a:gd name="T10" fmla="*/ 265 w 915"/>
                <a:gd name="T11" fmla="*/ 0 h 1156"/>
                <a:gd name="T12" fmla="*/ 121 w 915"/>
                <a:gd name="T13" fmla="*/ 144 h 1156"/>
                <a:gd name="T14" fmla="*/ 121 w 915"/>
                <a:gd name="T15" fmla="*/ 144 h 1156"/>
                <a:gd name="T16" fmla="*/ 121 w 915"/>
                <a:gd name="T17" fmla="*/ 144 h 1156"/>
                <a:gd name="T18" fmla="*/ 0 w 915"/>
                <a:gd name="T19" fmla="*/ 265 h 1156"/>
                <a:gd name="T20" fmla="*/ 0 w 915"/>
                <a:gd name="T21" fmla="*/ 674 h 1156"/>
                <a:gd name="T22" fmla="*/ 458 w 915"/>
                <a:gd name="T23" fmla="*/ 1156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5" h="1156">
                  <a:moveTo>
                    <a:pt x="458" y="1156"/>
                  </a:moveTo>
                  <a:cubicBezTo>
                    <a:pt x="723" y="1156"/>
                    <a:pt x="915" y="940"/>
                    <a:pt x="915" y="674"/>
                  </a:cubicBezTo>
                  <a:cubicBezTo>
                    <a:pt x="915" y="337"/>
                    <a:pt x="915" y="337"/>
                    <a:pt x="915" y="337"/>
                  </a:cubicBezTo>
                  <a:cubicBezTo>
                    <a:pt x="915" y="216"/>
                    <a:pt x="915" y="216"/>
                    <a:pt x="915" y="216"/>
                  </a:cubicBezTo>
                  <a:cubicBezTo>
                    <a:pt x="915" y="97"/>
                    <a:pt x="818" y="0"/>
                    <a:pt x="699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185" y="0"/>
                    <a:pt x="121" y="65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54" y="144"/>
                    <a:pt x="0" y="198"/>
                    <a:pt x="0" y="265"/>
                  </a:cubicBezTo>
                  <a:cubicBezTo>
                    <a:pt x="0" y="674"/>
                    <a:pt x="0" y="674"/>
                    <a:pt x="0" y="674"/>
                  </a:cubicBezTo>
                  <a:cubicBezTo>
                    <a:pt x="0" y="940"/>
                    <a:pt x="192" y="1156"/>
                    <a:pt x="458" y="1156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286">
              <a:extLst>
                <a:ext uri="{FF2B5EF4-FFF2-40B4-BE49-F238E27FC236}">
                  <a16:creationId xmlns:a16="http://schemas.microsoft.com/office/drawing/2014/main" xmlns="" id="{F1C5EA44-9789-44E2-A7BA-CF5BC27AC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8398" y="5287968"/>
              <a:ext cx="109538" cy="39688"/>
            </a:xfrm>
            <a:custGeom>
              <a:avLst/>
              <a:gdLst>
                <a:gd name="T0" fmla="*/ 0 w 257"/>
                <a:gd name="T1" fmla="*/ 0 h 95"/>
                <a:gd name="T2" fmla="*/ 129 w 257"/>
                <a:gd name="T3" fmla="*/ 95 h 95"/>
                <a:gd name="T4" fmla="*/ 257 w 257"/>
                <a:gd name="T5" fmla="*/ 0 h 95"/>
                <a:gd name="T6" fmla="*/ 0 w 257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95">
                  <a:moveTo>
                    <a:pt x="0" y="0"/>
                  </a:moveTo>
                  <a:cubicBezTo>
                    <a:pt x="17" y="55"/>
                    <a:pt x="68" y="95"/>
                    <a:pt x="129" y="95"/>
                  </a:cubicBezTo>
                  <a:cubicBezTo>
                    <a:pt x="189" y="95"/>
                    <a:pt x="240" y="55"/>
                    <a:pt x="257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287">
              <a:extLst>
                <a:ext uri="{FF2B5EF4-FFF2-40B4-BE49-F238E27FC236}">
                  <a16:creationId xmlns:a16="http://schemas.microsoft.com/office/drawing/2014/main" xmlns="" id="{806D2D48-9148-4F19-9363-DC853A5E9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861" y="5008567"/>
              <a:ext cx="328613" cy="47625"/>
            </a:xfrm>
            <a:custGeom>
              <a:avLst/>
              <a:gdLst>
                <a:gd name="T0" fmla="*/ 771 w 771"/>
                <a:gd name="T1" fmla="*/ 0 h 114"/>
                <a:gd name="T2" fmla="*/ 446 w 771"/>
                <a:gd name="T3" fmla="*/ 78 h 114"/>
                <a:gd name="T4" fmla="*/ 121 w 771"/>
                <a:gd name="T5" fmla="*/ 0 h 114"/>
                <a:gd name="T6" fmla="*/ 0 w 771"/>
                <a:gd name="T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1" h="114">
                  <a:moveTo>
                    <a:pt x="771" y="0"/>
                  </a:moveTo>
                  <a:cubicBezTo>
                    <a:pt x="771" y="0"/>
                    <a:pt x="626" y="78"/>
                    <a:pt x="446" y="78"/>
                  </a:cubicBezTo>
                  <a:cubicBezTo>
                    <a:pt x="266" y="78"/>
                    <a:pt x="121" y="0"/>
                    <a:pt x="121" y="0"/>
                  </a:cubicBezTo>
                  <a:cubicBezTo>
                    <a:pt x="121" y="0"/>
                    <a:pt x="94" y="114"/>
                    <a:pt x="0" y="114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288">
              <a:extLst>
                <a:ext uri="{FF2B5EF4-FFF2-40B4-BE49-F238E27FC236}">
                  <a16:creationId xmlns:a16="http://schemas.microsoft.com/office/drawing/2014/main" xmlns="" id="{65670C52-3107-4588-88CE-A5F58F747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7635" y="5102229"/>
              <a:ext cx="30163" cy="93663"/>
            </a:xfrm>
            <a:custGeom>
              <a:avLst/>
              <a:gdLst>
                <a:gd name="T0" fmla="*/ 0 w 73"/>
                <a:gd name="T1" fmla="*/ 221 h 221"/>
                <a:gd name="T2" fmla="*/ 73 w 73"/>
                <a:gd name="T3" fmla="*/ 111 h 221"/>
                <a:gd name="T4" fmla="*/ 1 w 73"/>
                <a:gd name="T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221">
                  <a:moveTo>
                    <a:pt x="0" y="221"/>
                  </a:moveTo>
                  <a:cubicBezTo>
                    <a:pt x="43" y="203"/>
                    <a:pt x="73" y="160"/>
                    <a:pt x="73" y="111"/>
                  </a:cubicBezTo>
                  <a:cubicBezTo>
                    <a:pt x="73" y="61"/>
                    <a:pt x="43" y="19"/>
                    <a:pt x="1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289">
              <a:extLst>
                <a:ext uri="{FF2B5EF4-FFF2-40B4-BE49-F238E27FC236}">
                  <a16:creationId xmlns:a16="http://schemas.microsoft.com/office/drawing/2014/main" xmlns="" id="{5D101DF6-F189-4195-B487-0C240F95D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6948" y="5102229"/>
              <a:ext cx="31750" cy="93663"/>
            </a:xfrm>
            <a:custGeom>
              <a:avLst/>
              <a:gdLst>
                <a:gd name="T0" fmla="*/ 73 w 73"/>
                <a:gd name="T1" fmla="*/ 221 h 221"/>
                <a:gd name="T2" fmla="*/ 0 w 73"/>
                <a:gd name="T3" fmla="*/ 111 h 221"/>
                <a:gd name="T4" fmla="*/ 72 w 73"/>
                <a:gd name="T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" h="221">
                  <a:moveTo>
                    <a:pt x="73" y="221"/>
                  </a:moveTo>
                  <a:cubicBezTo>
                    <a:pt x="30" y="203"/>
                    <a:pt x="0" y="160"/>
                    <a:pt x="0" y="111"/>
                  </a:cubicBezTo>
                  <a:cubicBezTo>
                    <a:pt x="0" y="61"/>
                    <a:pt x="30" y="19"/>
                    <a:pt x="72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290">
              <a:extLst>
                <a:ext uri="{FF2B5EF4-FFF2-40B4-BE49-F238E27FC236}">
                  <a16:creationId xmlns:a16="http://schemas.microsoft.com/office/drawing/2014/main" xmlns="" id="{B9175149-844A-4223-97D2-604DF3B64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0460" y="5380042"/>
              <a:ext cx="123825" cy="100013"/>
            </a:xfrm>
            <a:custGeom>
              <a:avLst/>
              <a:gdLst>
                <a:gd name="T0" fmla="*/ 0 w 78"/>
                <a:gd name="T1" fmla="*/ 0 h 63"/>
                <a:gd name="T2" fmla="*/ 0 w 78"/>
                <a:gd name="T3" fmla="*/ 32 h 63"/>
                <a:gd name="T4" fmla="*/ 39 w 78"/>
                <a:gd name="T5" fmla="*/ 63 h 63"/>
                <a:gd name="T6" fmla="*/ 78 w 78"/>
                <a:gd name="T7" fmla="*/ 32 h 63"/>
                <a:gd name="T8" fmla="*/ 78 w 78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0" y="0"/>
                  </a:moveTo>
                  <a:lnTo>
                    <a:pt x="0" y="32"/>
                  </a:lnTo>
                  <a:lnTo>
                    <a:pt x="39" y="63"/>
                  </a:lnTo>
                  <a:lnTo>
                    <a:pt x="78" y="32"/>
                  </a:lnTo>
                  <a:lnTo>
                    <a:pt x="78" y="0"/>
                  </a:ln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291">
              <a:extLst>
                <a:ext uri="{FF2B5EF4-FFF2-40B4-BE49-F238E27FC236}">
                  <a16:creationId xmlns:a16="http://schemas.microsoft.com/office/drawing/2014/main" xmlns="" id="{7BC61323-8E08-4D71-B7EB-ED672333C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7419" y="5430843"/>
              <a:ext cx="173038" cy="284163"/>
            </a:xfrm>
            <a:custGeom>
              <a:avLst/>
              <a:gdLst>
                <a:gd name="T0" fmla="*/ 0 w 409"/>
                <a:gd name="T1" fmla="*/ 669 h 669"/>
                <a:gd name="T2" fmla="*/ 0 w 409"/>
                <a:gd name="T3" fmla="*/ 191 h 669"/>
                <a:gd name="T4" fmla="*/ 191 w 409"/>
                <a:gd name="T5" fmla="*/ 0 h 669"/>
                <a:gd name="T6" fmla="*/ 409 w 409"/>
                <a:gd name="T7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669">
                  <a:moveTo>
                    <a:pt x="0" y="669"/>
                  </a:moveTo>
                  <a:cubicBezTo>
                    <a:pt x="0" y="191"/>
                    <a:pt x="0" y="191"/>
                    <a:pt x="0" y="191"/>
                  </a:cubicBezTo>
                  <a:cubicBezTo>
                    <a:pt x="0" y="86"/>
                    <a:pt x="86" y="0"/>
                    <a:pt x="191" y="0"/>
                  </a:cubicBezTo>
                  <a:cubicBezTo>
                    <a:pt x="409" y="0"/>
                    <a:pt x="409" y="0"/>
                    <a:pt x="409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292">
              <a:extLst>
                <a:ext uri="{FF2B5EF4-FFF2-40B4-BE49-F238E27FC236}">
                  <a16:creationId xmlns:a16="http://schemas.microsoft.com/office/drawing/2014/main" xmlns="" id="{1E4FE5A9-3614-4976-BB1F-9CB615775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4286" y="5430843"/>
              <a:ext cx="174625" cy="284163"/>
            </a:xfrm>
            <a:custGeom>
              <a:avLst/>
              <a:gdLst>
                <a:gd name="T0" fmla="*/ 409 w 409"/>
                <a:gd name="T1" fmla="*/ 669 h 669"/>
                <a:gd name="T2" fmla="*/ 409 w 409"/>
                <a:gd name="T3" fmla="*/ 191 h 669"/>
                <a:gd name="T4" fmla="*/ 218 w 409"/>
                <a:gd name="T5" fmla="*/ 0 h 669"/>
                <a:gd name="T6" fmla="*/ 0 w 409"/>
                <a:gd name="T7" fmla="*/ 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9" h="669">
                  <a:moveTo>
                    <a:pt x="409" y="669"/>
                  </a:moveTo>
                  <a:cubicBezTo>
                    <a:pt x="409" y="191"/>
                    <a:pt x="409" y="191"/>
                    <a:pt x="409" y="191"/>
                  </a:cubicBezTo>
                  <a:cubicBezTo>
                    <a:pt x="409" y="86"/>
                    <a:pt x="323" y="0"/>
                    <a:pt x="21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294">
              <a:extLst>
                <a:ext uri="{FF2B5EF4-FFF2-40B4-BE49-F238E27FC236}">
                  <a16:creationId xmlns:a16="http://schemas.microsoft.com/office/drawing/2014/main" xmlns="" id="{8E3CD352-68AF-4D6B-9F5B-DE7EE34A4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3861" y="5280029"/>
              <a:ext cx="104775" cy="25400"/>
            </a:xfrm>
            <a:custGeom>
              <a:avLst/>
              <a:gdLst>
                <a:gd name="T0" fmla="*/ 0 w 243"/>
                <a:gd name="T1" fmla="*/ 0 h 59"/>
                <a:gd name="T2" fmla="*/ 122 w 243"/>
                <a:gd name="T3" fmla="*/ 59 h 59"/>
                <a:gd name="T4" fmla="*/ 243 w 243"/>
                <a:gd name="T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3" h="59">
                  <a:moveTo>
                    <a:pt x="0" y="0"/>
                  </a:moveTo>
                  <a:cubicBezTo>
                    <a:pt x="28" y="36"/>
                    <a:pt x="72" y="59"/>
                    <a:pt x="122" y="59"/>
                  </a:cubicBezTo>
                  <a:cubicBezTo>
                    <a:pt x="171" y="59"/>
                    <a:pt x="215" y="36"/>
                    <a:pt x="243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295">
              <a:extLst>
                <a:ext uri="{FF2B5EF4-FFF2-40B4-BE49-F238E27FC236}">
                  <a16:creationId xmlns:a16="http://schemas.microsoft.com/office/drawing/2014/main" xmlns="" id="{17706AD8-2384-47F2-9938-E5B6CD02C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737" y="5426080"/>
              <a:ext cx="177800" cy="282575"/>
            </a:xfrm>
            <a:custGeom>
              <a:avLst/>
              <a:gdLst>
                <a:gd name="T0" fmla="*/ 419 w 419"/>
                <a:gd name="T1" fmla="*/ 662 h 662"/>
                <a:gd name="T2" fmla="*/ 419 w 419"/>
                <a:gd name="T3" fmla="*/ 611 h 662"/>
                <a:gd name="T4" fmla="*/ 223 w 419"/>
                <a:gd name="T5" fmla="*/ 0 h 662"/>
                <a:gd name="T6" fmla="*/ 0 w 419"/>
                <a:gd name="T7" fmla="*/ 0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662">
                  <a:moveTo>
                    <a:pt x="419" y="662"/>
                  </a:moveTo>
                  <a:cubicBezTo>
                    <a:pt x="419" y="611"/>
                    <a:pt x="419" y="611"/>
                    <a:pt x="419" y="611"/>
                  </a:cubicBezTo>
                  <a:cubicBezTo>
                    <a:pt x="419" y="503"/>
                    <a:pt x="331" y="0"/>
                    <a:pt x="22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296">
              <a:extLst>
                <a:ext uri="{FF2B5EF4-FFF2-40B4-BE49-F238E27FC236}">
                  <a16:creationId xmlns:a16="http://schemas.microsoft.com/office/drawing/2014/main" xmlns="" id="{03995FA9-0199-4D56-BFDF-796FA6E1C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4946" y="5426080"/>
              <a:ext cx="177801" cy="282575"/>
            </a:xfrm>
            <a:custGeom>
              <a:avLst/>
              <a:gdLst>
                <a:gd name="T0" fmla="*/ 0 w 418"/>
                <a:gd name="T1" fmla="*/ 662 h 662"/>
                <a:gd name="T2" fmla="*/ 0 w 418"/>
                <a:gd name="T3" fmla="*/ 611 h 662"/>
                <a:gd name="T4" fmla="*/ 195 w 418"/>
                <a:gd name="T5" fmla="*/ 0 h 662"/>
                <a:gd name="T6" fmla="*/ 418 w 418"/>
                <a:gd name="T7" fmla="*/ 0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8" h="662">
                  <a:moveTo>
                    <a:pt x="0" y="662"/>
                  </a:moveTo>
                  <a:cubicBezTo>
                    <a:pt x="0" y="611"/>
                    <a:pt x="0" y="611"/>
                    <a:pt x="0" y="611"/>
                  </a:cubicBezTo>
                  <a:cubicBezTo>
                    <a:pt x="0" y="503"/>
                    <a:pt x="87" y="0"/>
                    <a:pt x="195" y="0"/>
                  </a:cubicBezTo>
                  <a:cubicBezTo>
                    <a:pt x="418" y="0"/>
                    <a:pt x="418" y="0"/>
                    <a:pt x="418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297">
              <a:extLst>
                <a:ext uri="{FF2B5EF4-FFF2-40B4-BE49-F238E27FC236}">
                  <a16:creationId xmlns:a16="http://schemas.microsoft.com/office/drawing/2014/main" xmlns="" id="{498AC381-E7C3-49DF-A174-4665968E0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2745" y="5353054"/>
              <a:ext cx="127000" cy="107950"/>
            </a:xfrm>
            <a:custGeom>
              <a:avLst/>
              <a:gdLst>
                <a:gd name="T0" fmla="*/ 295 w 295"/>
                <a:gd name="T1" fmla="*/ 0 h 254"/>
                <a:gd name="T2" fmla="*/ 295 w 295"/>
                <a:gd name="T3" fmla="*/ 173 h 254"/>
                <a:gd name="T4" fmla="*/ 0 w 295"/>
                <a:gd name="T5" fmla="*/ 173 h 254"/>
                <a:gd name="T6" fmla="*/ 0 w 295"/>
                <a:gd name="T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5" h="254">
                  <a:moveTo>
                    <a:pt x="295" y="0"/>
                  </a:moveTo>
                  <a:cubicBezTo>
                    <a:pt x="295" y="173"/>
                    <a:pt x="295" y="173"/>
                    <a:pt x="295" y="173"/>
                  </a:cubicBezTo>
                  <a:cubicBezTo>
                    <a:pt x="214" y="254"/>
                    <a:pt x="82" y="254"/>
                    <a:pt x="0" y="17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Oval 298">
              <a:extLst>
                <a:ext uri="{FF2B5EF4-FFF2-40B4-BE49-F238E27FC236}">
                  <a16:creationId xmlns:a16="http://schemas.microsoft.com/office/drawing/2014/main" xmlns="" id="{7051CEDE-53D8-4F0E-B56C-9C10A45E0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63058" y="5146680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Oval 299">
              <a:extLst>
                <a:ext uri="{FF2B5EF4-FFF2-40B4-BE49-F238E27FC236}">
                  <a16:creationId xmlns:a16="http://schemas.microsoft.com/office/drawing/2014/main" xmlns="" id="{69B11C00-4EB7-4475-AD5D-AD173746B3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36096" y="5146680"/>
              <a:ext cx="33338" cy="33338"/>
            </a:xfrm>
            <a:prstGeom prst="ellipse">
              <a:avLst/>
            </a:prstGeom>
            <a:solidFill>
              <a:srgbClr val="1B1B1B"/>
            </a:solidFill>
            <a:ln w="9525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Rectangle 300">
              <a:extLst>
                <a:ext uri="{FF2B5EF4-FFF2-40B4-BE49-F238E27FC236}">
                  <a16:creationId xmlns:a16="http://schemas.microsoft.com/office/drawing/2014/main" xmlns="" id="{67716B00-AD0A-48AA-9D04-4408E5E66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20196" y="5114929"/>
              <a:ext cx="114300" cy="101600"/>
            </a:xfrm>
            <a:prstGeom prst="rect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Rectangle 301">
              <a:extLst>
                <a:ext uri="{FF2B5EF4-FFF2-40B4-BE49-F238E27FC236}">
                  <a16:creationId xmlns:a16="http://schemas.microsoft.com/office/drawing/2014/main" xmlns="" id="{F9C740BD-48B8-490E-AB6D-B5CC4C839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7995" y="5114929"/>
              <a:ext cx="114300" cy="101600"/>
            </a:xfrm>
            <a:prstGeom prst="rect">
              <a:avLst/>
            </a:pr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302">
              <a:extLst>
                <a:ext uri="{FF2B5EF4-FFF2-40B4-BE49-F238E27FC236}">
                  <a16:creationId xmlns:a16="http://schemas.microsoft.com/office/drawing/2014/main" xmlns="" id="{63A145FA-AB41-4A64-A45B-286E38F19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4496" y="5132392"/>
              <a:ext cx="63501" cy="20638"/>
            </a:xfrm>
            <a:custGeom>
              <a:avLst/>
              <a:gdLst>
                <a:gd name="T0" fmla="*/ 0 w 147"/>
                <a:gd name="T1" fmla="*/ 50 h 50"/>
                <a:gd name="T2" fmla="*/ 147 w 147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7" h="50">
                  <a:moveTo>
                    <a:pt x="0" y="50"/>
                  </a:moveTo>
                  <a:cubicBezTo>
                    <a:pt x="37" y="0"/>
                    <a:pt x="111" y="0"/>
                    <a:pt x="147" y="5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303">
              <a:extLst>
                <a:ext uri="{FF2B5EF4-FFF2-40B4-BE49-F238E27FC236}">
                  <a16:creationId xmlns:a16="http://schemas.microsoft.com/office/drawing/2014/main" xmlns="" id="{ACB7B71C-B129-48E7-8AAB-153115DD5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20" y="4933953"/>
              <a:ext cx="98425" cy="57151"/>
            </a:xfrm>
            <a:custGeom>
              <a:avLst/>
              <a:gdLst>
                <a:gd name="T0" fmla="*/ 234 w 234"/>
                <a:gd name="T1" fmla="*/ 0 h 135"/>
                <a:gd name="T2" fmla="*/ 0 w 234"/>
                <a:gd name="T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4" h="135">
                  <a:moveTo>
                    <a:pt x="234" y="0"/>
                  </a:moveTo>
                  <a:cubicBezTo>
                    <a:pt x="134" y="0"/>
                    <a:pt x="47" y="54"/>
                    <a:pt x="0" y="135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304">
              <a:extLst>
                <a:ext uri="{FF2B5EF4-FFF2-40B4-BE49-F238E27FC236}">
                  <a16:creationId xmlns:a16="http://schemas.microsoft.com/office/drawing/2014/main" xmlns="" id="{3A7D05ED-4491-4F2A-8D59-9429554A1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5582" y="4892680"/>
              <a:ext cx="441325" cy="530226"/>
            </a:xfrm>
            <a:custGeom>
              <a:avLst/>
              <a:gdLst>
                <a:gd name="T0" fmla="*/ 883 w 1034"/>
                <a:gd name="T1" fmla="*/ 1246 h 1246"/>
                <a:gd name="T2" fmla="*/ 1034 w 1034"/>
                <a:gd name="T3" fmla="*/ 1005 h 1246"/>
                <a:gd name="T4" fmla="*/ 1034 w 1034"/>
                <a:gd name="T5" fmla="*/ 520 h 1246"/>
                <a:gd name="T6" fmla="*/ 664 w 1034"/>
                <a:gd name="T7" fmla="*/ 0 h 1246"/>
                <a:gd name="T8" fmla="*/ 517 w 1034"/>
                <a:gd name="T9" fmla="*/ 0 h 1246"/>
                <a:gd name="T10" fmla="*/ 369 w 1034"/>
                <a:gd name="T11" fmla="*/ 0 h 1246"/>
                <a:gd name="T12" fmla="*/ 0 w 1034"/>
                <a:gd name="T13" fmla="*/ 520 h 1246"/>
                <a:gd name="T14" fmla="*/ 0 w 1034"/>
                <a:gd name="T15" fmla="*/ 1005 h 1246"/>
                <a:gd name="T16" fmla="*/ 151 w 1034"/>
                <a:gd name="T17" fmla="*/ 124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4" h="1246">
                  <a:moveTo>
                    <a:pt x="883" y="1246"/>
                  </a:moveTo>
                  <a:cubicBezTo>
                    <a:pt x="968" y="1231"/>
                    <a:pt x="1034" y="1129"/>
                    <a:pt x="1034" y="1005"/>
                  </a:cubicBezTo>
                  <a:cubicBezTo>
                    <a:pt x="1034" y="520"/>
                    <a:pt x="1034" y="520"/>
                    <a:pt x="1034" y="520"/>
                  </a:cubicBezTo>
                  <a:cubicBezTo>
                    <a:pt x="1034" y="233"/>
                    <a:pt x="868" y="0"/>
                    <a:pt x="664" y="0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165" y="0"/>
                    <a:pt x="0" y="233"/>
                    <a:pt x="0" y="520"/>
                  </a:cubicBezTo>
                  <a:cubicBezTo>
                    <a:pt x="0" y="1005"/>
                    <a:pt x="0" y="1005"/>
                    <a:pt x="0" y="1005"/>
                  </a:cubicBezTo>
                  <a:cubicBezTo>
                    <a:pt x="0" y="1129"/>
                    <a:pt x="66" y="1231"/>
                    <a:pt x="151" y="1246"/>
                  </a:cubicBezTo>
                </a:path>
              </a:pathLst>
            </a:custGeom>
            <a:noFill/>
            <a:ln w="19050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305">
              <a:extLst>
                <a:ext uri="{FF2B5EF4-FFF2-40B4-BE49-F238E27FC236}">
                  <a16:creationId xmlns:a16="http://schemas.microsoft.com/office/drawing/2014/main" xmlns="" id="{49CD1359-2634-413F-8D11-6DDDC1175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9269" y="5049843"/>
              <a:ext cx="104775" cy="93663"/>
            </a:xfrm>
            <a:custGeom>
              <a:avLst/>
              <a:gdLst>
                <a:gd name="T0" fmla="*/ 246 w 246"/>
                <a:gd name="T1" fmla="*/ 222 h 222"/>
                <a:gd name="T2" fmla="*/ 25 w 246"/>
                <a:gd name="T3" fmla="*/ 0 h 222"/>
                <a:gd name="T4" fmla="*/ 0 w 246"/>
                <a:gd name="T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6" h="222">
                  <a:moveTo>
                    <a:pt x="246" y="222"/>
                  </a:moveTo>
                  <a:cubicBezTo>
                    <a:pt x="246" y="74"/>
                    <a:pt x="147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306">
              <a:extLst>
                <a:ext uri="{FF2B5EF4-FFF2-40B4-BE49-F238E27FC236}">
                  <a16:creationId xmlns:a16="http://schemas.microsoft.com/office/drawing/2014/main" xmlns="" id="{06AF86A7-099A-47A2-889F-AE86C4E72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8436" y="5143505"/>
              <a:ext cx="355600" cy="220664"/>
            </a:xfrm>
            <a:custGeom>
              <a:avLst/>
              <a:gdLst>
                <a:gd name="T0" fmla="*/ 0 w 837"/>
                <a:gd name="T1" fmla="*/ 0 h 517"/>
                <a:gd name="T2" fmla="*/ 0 w 837"/>
                <a:gd name="T3" fmla="*/ 74 h 517"/>
                <a:gd name="T4" fmla="*/ 419 w 837"/>
                <a:gd name="T5" fmla="*/ 517 h 517"/>
                <a:gd name="T6" fmla="*/ 419 w 837"/>
                <a:gd name="T7" fmla="*/ 517 h 517"/>
                <a:gd name="T8" fmla="*/ 419 w 837"/>
                <a:gd name="T9" fmla="*/ 517 h 517"/>
                <a:gd name="T10" fmla="*/ 837 w 837"/>
                <a:gd name="T11" fmla="*/ 74 h 517"/>
                <a:gd name="T12" fmla="*/ 837 w 837"/>
                <a:gd name="T13" fmla="*/ 0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517">
                  <a:moveTo>
                    <a:pt x="0" y="0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319"/>
                    <a:pt x="174" y="517"/>
                    <a:pt x="419" y="517"/>
                  </a:cubicBezTo>
                  <a:cubicBezTo>
                    <a:pt x="419" y="517"/>
                    <a:pt x="419" y="517"/>
                    <a:pt x="419" y="517"/>
                  </a:cubicBezTo>
                  <a:cubicBezTo>
                    <a:pt x="419" y="517"/>
                    <a:pt x="419" y="517"/>
                    <a:pt x="419" y="517"/>
                  </a:cubicBezTo>
                  <a:cubicBezTo>
                    <a:pt x="663" y="517"/>
                    <a:pt x="837" y="319"/>
                    <a:pt x="837" y="74"/>
                  </a:cubicBezTo>
                  <a:cubicBezTo>
                    <a:pt x="837" y="0"/>
                    <a:pt x="837" y="0"/>
                    <a:pt x="837" y="0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307">
              <a:extLst>
                <a:ext uri="{FF2B5EF4-FFF2-40B4-BE49-F238E27FC236}">
                  <a16:creationId xmlns:a16="http://schemas.microsoft.com/office/drawing/2014/main" xmlns="" id="{E9A29024-43C5-4A1E-972C-CABE2F227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8449" y="4905379"/>
              <a:ext cx="303213" cy="238126"/>
            </a:xfrm>
            <a:custGeom>
              <a:avLst/>
              <a:gdLst>
                <a:gd name="T0" fmla="*/ 713 w 713"/>
                <a:gd name="T1" fmla="*/ 0 h 561"/>
                <a:gd name="T2" fmla="*/ 345 w 713"/>
                <a:gd name="T3" fmla="*/ 339 h 561"/>
                <a:gd name="T4" fmla="*/ 222 w 713"/>
                <a:gd name="T5" fmla="*/ 339 h 561"/>
                <a:gd name="T6" fmla="*/ 0 w 713"/>
                <a:gd name="T7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3" h="561">
                  <a:moveTo>
                    <a:pt x="713" y="0"/>
                  </a:moveTo>
                  <a:cubicBezTo>
                    <a:pt x="698" y="190"/>
                    <a:pt x="539" y="339"/>
                    <a:pt x="345" y="339"/>
                  </a:cubicBezTo>
                  <a:cubicBezTo>
                    <a:pt x="222" y="339"/>
                    <a:pt x="222" y="339"/>
                    <a:pt x="222" y="339"/>
                  </a:cubicBezTo>
                  <a:cubicBezTo>
                    <a:pt x="99" y="339"/>
                    <a:pt x="0" y="413"/>
                    <a:pt x="0" y="561"/>
                  </a:cubicBezTo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Line 308">
              <a:extLst>
                <a:ext uri="{FF2B5EF4-FFF2-40B4-BE49-F238E27FC236}">
                  <a16:creationId xmlns:a16="http://schemas.microsoft.com/office/drawing/2014/main" xmlns="" id="{2D0416C0-DCAE-415B-8CD7-0AC4C4D256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99599" y="5561018"/>
              <a:ext cx="26988" cy="155576"/>
            </a:xfrm>
            <a:prstGeom prst="line">
              <a:avLst/>
            </a:prstGeom>
            <a:noFill/>
            <a:ln w="1428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309">
              <a:extLst>
                <a:ext uri="{FF2B5EF4-FFF2-40B4-BE49-F238E27FC236}">
                  <a16:creationId xmlns:a16="http://schemas.microsoft.com/office/drawing/2014/main" xmlns="" id="{D708A5A0-4E0B-4C25-BE24-E0200658E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13" y="5437185"/>
              <a:ext cx="360364" cy="293688"/>
            </a:xfrm>
            <a:custGeom>
              <a:avLst/>
              <a:gdLst>
                <a:gd name="T0" fmla="*/ 11 w 227"/>
                <a:gd name="T1" fmla="*/ 82 h 185"/>
                <a:gd name="T2" fmla="*/ 144 w 227"/>
                <a:gd name="T3" fmla="*/ 1 h 185"/>
                <a:gd name="T4" fmla="*/ 207 w 227"/>
                <a:gd name="T5" fmla="*/ 0 h 185"/>
                <a:gd name="T6" fmla="*/ 227 w 227"/>
                <a:gd name="T7" fmla="*/ 29 h 185"/>
                <a:gd name="T8" fmla="*/ 83 w 227"/>
                <a:gd name="T9" fmla="*/ 185 h 185"/>
                <a:gd name="T10" fmla="*/ 0 w 227"/>
                <a:gd name="T11" fmla="*/ 183 h 185"/>
                <a:gd name="T12" fmla="*/ 11 w 227"/>
                <a:gd name="T13" fmla="*/ 8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7" h="185">
                  <a:moveTo>
                    <a:pt x="11" y="82"/>
                  </a:moveTo>
                  <a:lnTo>
                    <a:pt x="144" y="1"/>
                  </a:lnTo>
                  <a:lnTo>
                    <a:pt x="207" y="0"/>
                  </a:lnTo>
                  <a:lnTo>
                    <a:pt x="227" y="29"/>
                  </a:lnTo>
                  <a:lnTo>
                    <a:pt x="83" y="185"/>
                  </a:lnTo>
                  <a:lnTo>
                    <a:pt x="0" y="183"/>
                  </a:lnTo>
                  <a:lnTo>
                    <a:pt x="11" y="82"/>
                  </a:lnTo>
                  <a:close/>
                </a:path>
              </a:pathLst>
            </a:custGeom>
            <a:noFill/>
            <a:ln w="20638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xmlns="" id="{82CFB1C6-E8D9-46E2-82B4-80F3E0011607}"/>
              </a:ext>
            </a:extLst>
          </p:cNvPr>
          <p:cNvGrpSpPr/>
          <p:nvPr/>
        </p:nvGrpSpPr>
        <p:grpSpPr>
          <a:xfrm>
            <a:off x="8277074" y="4931446"/>
            <a:ext cx="1338564" cy="976284"/>
            <a:chOff x="8803896" y="4787725"/>
            <a:chExt cx="1338564" cy="976284"/>
          </a:xfrm>
        </p:grpSpPr>
        <p:sp>
          <p:nvSpPr>
            <p:cNvPr id="229" name="Freeform 313">
              <a:extLst>
                <a:ext uri="{FF2B5EF4-FFF2-40B4-BE49-F238E27FC236}">
                  <a16:creationId xmlns:a16="http://schemas.microsoft.com/office/drawing/2014/main" xmlns="" id="{66005474-22AC-4537-8E61-7DBE7A853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3896" y="5259624"/>
              <a:ext cx="664145" cy="500965"/>
            </a:xfrm>
            <a:custGeom>
              <a:avLst/>
              <a:gdLst>
                <a:gd name="T0" fmla="*/ 1273 w 1273"/>
                <a:gd name="T1" fmla="*/ 484 h 948"/>
                <a:gd name="T2" fmla="*/ 1273 w 1273"/>
                <a:gd name="T3" fmla="*/ 948 h 948"/>
                <a:gd name="T4" fmla="*/ 0 w 1273"/>
                <a:gd name="T5" fmla="*/ 948 h 948"/>
                <a:gd name="T6" fmla="*/ 0 w 1273"/>
                <a:gd name="T7" fmla="*/ 484 h 948"/>
                <a:gd name="T8" fmla="*/ 250 w 1273"/>
                <a:gd name="T9" fmla="*/ 201 h 948"/>
                <a:gd name="T10" fmla="*/ 332 w 1273"/>
                <a:gd name="T11" fmla="*/ 190 h 948"/>
                <a:gd name="T12" fmla="*/ 332 w 1273"/>
                <a:gd name="T13" fmla="*/ 190 h 948"/>
                <a:gd name="T14" fmla="*/ 332 w 1273"/>
                <a:gd name="T15" fmla="*/ 191 h 948"/>
                <a:gd name="T16" fmla="*/ 332 w 1273"/>
                <a:gd name="T17" fmla="*/ 191 h 948"/>
                <a:gd name="T18" fmla="*/ 470 w 1273"/>
                <a:gd name="T19" fmla="*/ 419 h 948"/>
                <a:gd name="T20" fmla="*/ 637 w 1273"/>
                <a:gd name="T21" fmla="*/ 295 h 948"/>
                <a:gd name="T22" fmla="*/ 426 w 1273"/>
                <a:gd name="T23" fmla="*/ 116 h 948"/>
                <a:gd name="T24" fmla="*/ 433 w 1273"/>
                <a:gd name="T25" fmla="*/ 83 h 948"/>
                <a:gd name="T26" fmla="*/ 439 w 1273"/>
                <a:gd name="T27" fmla="*/ 0 h 948"/>
                <a:gd name="T28" fmla="*/ 637 w 1273"/>
                <a:gd name="T29" fmla="*/ 117 h 948"/>
                <a:gd name="T30" fmla="*/ 834 w 1273"/>
                <a:gd name="T31" fmla="*/ 0 h 948"/>
                <a:gd name="T32" fmla="*/ 840 w 1273"/>
                <a:gd name="T33" fmla="*/ 83 h 948"/>
                <a:gd name="T34" fmla="*/ 848 w 1273"/>
                <a:gd name="T35" fmla="*/ 116 h 948"/>
                <a:gd name="T36" fmla="*/ 637 w 1273"/>
                <a:gd name="T37" fmla="*/ 295 h 948"/>
                <a:gd name="T38" fmla="*/ 803 w 1273"/>
                <a:gd name="T39" fmla="*/ 419 h 948"/>
                <a:gd name="T40" fmla="*/ 942 w 1273"/>
                <a:gd name="T41" fmla="*/ 191 h 948"/>
                <a:gd name="T42" fmla="*/ 942 w 1273"/>
                <a:gd name="T43" fmla="*/ 191 h 948"/>
                <a:gd name="T44" fmla="*/ 941 w 1273"/>
                <a:gd name="T45" fmla="*/ 190 h 948"/>
                <a:gd name="T46" fmla="*/ 942 w 1273"/>
                <a:gd name="T47" fmla="*/ 190 h 948"/>
                <a:gd name="T48" fmla="*/ 1024 w 1273"/>
                <a:gd name="T49" fmla="*/ 201 h 948"/>
                <a:gd name="T50" fmla="*/ 1273 w 1273"/>
                <a:gd name="T51" fmla="*/ 484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73" h="948">
                  <a:moveTo>
                    <a:pt x="1273" y="484"/>
                  </a:moveTo>
                  <a:cubicBezTo>
                    <a:pt x="1273" y="948"/>
                    <a:pt x="1273" y="948"/>
                    <a:pt x="1273" y="948"/>
                  </a:cubicBezTo>
                  <a:cubicBezTo>
                    <a:pt x="0" y="948"/>
                    <a:pt x="0" y="948"/>
                    <a:pt x="0" y="948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0" y="340"/>
                    <a:pt x="107" y="219"/>
                    <a:pt x="250" y="201"/>
                  </a:cubicBezTo>
                  <a:cubicBezTo>
                    <a:pt x="332" y="190"/>
                    <a:pt x="332" y="190"/>
                    <a:pt x="332" y="190"/>
                  </a:cubicBezTo>
                  <a:cubicBezTo>
                    <a:pt x="332" y="190"/>
                    <a:pt x="332" y="190"/>
                    <a:pt x="332" y="190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332" y="191"/>
                    <a:pt x="332" y="191"/>
                    <a:pt x="332" y="191"/>
                  </a:cubicBezTo>
                  <a:cubicBezTo>
                    <a:pt x="470" y="419"/>
                    <a:pt x="470" y="419"/>
                    <a:pt x="470" y="419"/>
                  </a:cubicBezTo>
                  <a:cubicBezTo>
                    <a:pt x="637" y="295"/>
                    <a:pt x="637" y="295"/>
                    <a:pt x="637" y="295"/>
                  </a:cubicBezTo>
                  <a:cubicBezTo>
                    <a:pt x="426" y="116"/>
                    <a:pt x="426" y="116"/>
                    <a:pt x="426" y="116"/>
                  </a:cubicBezTo>
                  <a:cubicBezTo>
                    <a:pt x="430" y="106"/>
                    <a:pt x="432" y="95"/>
                    <a:pt x="433" y="83"/>
                  </a:cubicBezTo>
                  <a:cubicBezTo>
                    <a:pt x="439" y="0"/>
                    <a:pt x="439" y="0"/>
                    <a:pt x="439" y="0"/>
                  </a:cubicBezTo>
                  <a:cubicBezTo>
                    <a:pt x="494" y="71"/>
                    <a:pt x="563" y="117"/>
                    <a:pt x="637" y="117"/>
                  </a:cubicBezTo>
                  <a:cubicBezTo>
                    <a:pt x="711" y="117"/>
                    <a:pt x="779" y="71"/>
                    <a:pt x="834" y="0"/>
                  </a:cubicBezTo>
                  <a:cubicBezTo>
                    <a:pt x="840" y="83"/>
                    <a:pt x="840" y="83"/>
                    <a:pt x="840" y="83"/>
                  </a:cubicBezTo>
                  <a:cubicBezTo>
                    <a:pt x="841" y="95"/>
                    <a:pt x="844" y="106"/>
                    <a:pt x="848" y="116"/>
                  </a:cubicBezTo>
                  <a:cubicBezTo>
                    <a:pt x="637" y="295"/>
                    <a:pt x="637" y="295"/>
                    <a:pt x="637" y="295"/>
                  </a:cubicBezTo>
                  <a:cubicBezTo>
                    <a:pt x="803" y="419"/>
                    <a:pt x="803" y="419"/>
                    <a:pt x="803" y="419"/>
                  </a:cubicBezTo>
                  <a:cubicBezTo>
                    <a:pt x="942" y="191"/>
                    <a:pt x="942" y="191"/>
                    <a:pt x="942" y="191"/>
                  </a:cubicBezTo>
                  <a:cubicBezTo>
                    <a:pt x="942" y="191"/>
                    <a:pt x="942" y="191"/>
                    <a:pt x="942" y="191"/>
                  </a:cubicBezTo>
                  <a:cubicBezTo>
                    <a:pt x="941" y="190"/>
                    <a:pt x="941" y="190"/>
                    <a:pt x="941" y="190"/>
                  </a:cubicBezTo>
                  <a:cubicBezTo>
                    <a:pt x="942" y="190"/>
                    <a:pt x="942" y="190"/>
                    <a:pt x="942" y="190"/>
                  </a:cubicBezTo>
                  <a:cubicBezTo>
                    <a:pt x="1024" y="201"/>
                    <a:pt x="1024" y="201"/>
                    <a:pt x="1024" y="201"/>
                  </a:cubicBezTo>
                  <a:cubicBezTo>
                    <a:pt x="1167" y="219"/>
                    <a:pt x="1273" y="340"/>
                    <a:pt x="1273" y="484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314">
              <a:extLst>
                <a:ext uri="{FF2B5EF4-FFF2-40B4-BE49-F238E27FC236}">
                  <a16:creationId xmlns:a16="http://schemas.microsoft.com/office/drawing/2014/main" xmlns="" id="{8E5D6556-A750-4871-A796-4180F29A4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832" y="4859536"/>
              <a:ext cx="321959" cy="461641"/>
            </a:xfrm>
            <a:custGeom>
              <a:avLst/>
              <a:gdLst>
                <a:gd name="T0" fmla="*/ 620 w 620"/>
                <a:gd name="T1" fmla="*/ 501 h 871"/>
                <a:gd name="T2" fmla="*/ 620 w 620"/>
                <a:gd name="T3" fmla="*/ 501 h 871"/>
                <a:gd name="T4" fmla="*/ 618 w 620"/>
                <a:gd name="T5" fmla="*/ 508 h 871"/>
                <a:gd name="T6" fmla="*/ 617 w 620"/>
                <a:gd name="T7" fmla="*/ 515 h 871"/>
                <a:gd name="T8" fmla="*/ 615 w 620"/>
                <a:gd name="T9" fmla="*/ 522 h 871"/>
                <a:gd name="T10" fmla="*/ 611 w 620"/>
                <a:gd name="T11" fmla="*/ 538 h 871"/>
                <a:gd name="T12" fmla="*/ 507 w 620"/>
                <a:gd name="T13" fmla="*/ 754 h 871"/>
                <a:gd name="T14" fmla="*/ 310 w 620"/>
                <a:gd name="T15" fmla="*/ 871 h 871"/>
                <a:gd name="T16" fmla="*/ 112 w 620"/>
                <a:gd name="T17" fmla="*/ 754 h 871"/>
                <a:gd name="T18" fmla="*/ 9 w 620"/>
                <a:gd name="T19" fmla="*/ 539 h 871"/>
                <a:gd name="T20" fmla="*/ 0 w 620"/>
                <a:gd name="T21" fmla="*/ 501 h 871"/>
                <a:gd name="T22" fmla="*/ 71 w 620"/>
                <a:gd name="T23" fmla="*/ 223 h 871"/>
                <a:gd name="T24" fmla="*/ 38 w 620"/>
                <a:gd name="T25" fmla="*/ 141 h 871"/>
                <a:gd name="T26" fmla="*/ 310 w 620"/>
                <a:gd name="T27" fmla="*/ 0 h 871"/>
                <a:gd name="T28" fmla="*/ 581 w 620"/>
                <a:gd name="T29" fmla="*/ 141 h 871"/>
                <a:gd name="T30" fmla="*/ 548 w 620"/>
                <a:gd name="T31" fmla="*/ 223 h 871"/>
                <a:gd name="T32" fmla="*/ 620 w 620"/>
                <a:gd name="T33" fmla="*/ 50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20" h="871">
                  <a:moveTo>
                    <a:pt x="620" y="501"/>
                  </a:moveTo>
                  <a:cubicBezTo>
                    <a:pt x="620" y="501"/>
                    <a:pt x="620" y="501"/>
                    <a:pt x="620" y="501"/>
                  </a:cubicBezTo>
                  <a:cubicBezTo>
                    <a:pt x="619" y="503"/>
                    <a:pt x="619" y="505"/>
                    <a:pt x="618" y="508"/>
                  </a:cubicBezTo>
                  <a:cubicBezTo>
                    <a:pt x="618" y="510"/>
                    <a:pt x="617" y="513"/>
                    <a:pt x="617" y="515"/>
                  </a:cubicBezTo>
                  <a:cubicBezTo>
                    <a:pt x="616" y="518"/>
                    <a:pt x="615" y="520"/>
                    <a:pt x="615" y="522"/>
                  </a:cubicBezTo>
                  <a:cubicBezTo>
                    <a:pt x="614" y="528"/>
                    <a:pt x="612" y="533"/>
                    <a:pt x="611" y="538"/>
                  </a:cubicBezTo>
                  <a:cubicBezTo>
                    <a:pt x="588" y="619"/>
                    <a:pt x="552" y="695"/>
                    <a:pt x="507" y="754"/>
                  </a:cubicBezTo>
                  <a:cubicBezTo>
                    <a:pt x="452" y="825"/>
                    <a:pt x="384" y="871"/>
                    <a:pt x="310" y="871"/>
                  </a:cubicBezTo>
                  <a:cubicBezTo>
                    <a:pt x="236" y="871"/>
                    <a:pt x="167" y="825"/>
                    <a:pt x="112" y="754"/>
                  </a:cubicBezTo>
                  <a:cubicBezTo>
                    <a:pt x="67" y="695"/>
                    <a:pt x="31" y="619"/>
                    <a:pt x="9" y="539"/>
                  </a:cubicBezTo>
                  <a:cubicBezTo>
                    <a:pt x="6" y="526"/>
                    <a:pt x="2" y="513"/>
                    <a:pt x="0" y="501"/>
                  </a:cubicBezTo>
                  <a:cubicBezTo>
                    <a:pt x="71" y="223"/>
                    <a:pt x="71" y="223"/>
                    <a:pt x="71" y="223"/>
                  </a:cubicBezTo>
                  <a:cubicBezTo>
                    <a:pt x="80" y="188"/>
                    <a:pt x="64" y="157"/>
                    <a:pt x="38" y="141"/>
                  </a:cubicBezTo>
                  <a:cubicBezTo>
                    <a:pt x="97" y="46"/>
                    <a:pt x="197" y="0"/>
                    <a:pt x="310" y="0"/>
                  </a:cubicBezTo>
                  <a:cubicBezTo>
                    <a:pt x="423" y="0"/>
                    <a:pt x="523" y="46"/>
                    <a:pt x="581" y="141"/>
                  </a:cubicBezTo>
                  <a:cubicBezTo>
                    <a:pt x="556" y="157"/>
                    <a:pt x="539" y="188"/>
                    <a:pt x="548" y="223"/>
                  </a:cubicBezTo>
                  <a:lnTo>
                    <a:pt x="620" y="501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315">
              <a:extLst>
                <a:ext uri="{FF2B5EF4-FFF2-40B4-BE49-F238E27FC236}">
                  <a16:creationId xmlns:a16="http://schemas.microsoft.com/office/drawing/2014/main" xmlns="" id="{2058B052-DD8A-4517-85F3-BA593167B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8748" y="5083517"/>
              <a:ext cx="40455" cy="63262"/>
            </a:xfrm>
            <a:custGeom>
              <a:avLst/>
              <a:gdLst>
                <a:gd name="T0" fmla="*/ 80 w 80"/>
                <a:gd name="T1" fmla="*/ 118 h 120"/>
                <a:gd name="T2" fmla="*/ 63 w 80"/>
                <a:gd name="T3" fmla="*/ 120 h 120"/>
                <a:gd name="T4" fmla="*/ 0 w 80"/>
                <a:gd name="T5" fmla="*/ 56 h 120"/>
                <a:gd name="T6" fmla="*/ 34 w 80"/>
                <a:gd name="T7" fmla="*/ 0 h 120"/>
                <a:gd name="T8" fmla="*/ 71 w 80"/>
                <a:gd name="T9" fmla="*/ 80 h 120"/>
                <a:gd name="T10" fmla="*/ 71 w 80"/>
                <a:gd name="T11" fmla="*/ 80 h 120"/>
                <a:gd name="T12" fmla="*/ 80 w 80"/>
                <a:gd name="T13" fmla="*/ 11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20">
                  <a:moveTo>
                    <a:pt x="80" y="118"/>
                  </a:moveTo>
                  <a:cubicBezTo>
                    <a:pt x="75" y="119"/>
                    <a:pt x="69" y="120"/>
                    <a:pt x="63" y="120"/>
                  </a:cubicBezTo>
                  <a:cubicBezTo>
                    <a:pt x="29" y="120"/>
                    <a:pt x="0" y="91"/>
                    <a:pt x="0" y="56"/>
                  </a:cubicBezTo>
                  <a:cubicBezTo>
                    <a:pt x="0" y="32"/>
                    <a:pt x="14" y="10"/>
                    <a:pt x="34" y="0"/>
                  </a:cubicBezTo>
                  <a:cubicBezTo>
                    <a:pt x="44" y="25"/>
                    <a:pt x="56" y="52"/>
                    <a:pt x="71" y="80"/>
                  </a:cubicBezTo>
                  <a:cubicBezTo>
                    <a:pt x="71" y="80"/>
                    <a:pt x="71" y="80"/>
                    <a:pt x="71" y="80"/>
                  </a:cubicBezTo>
                  <a:cubicBezTo>
                    <a:pt x="73" y="92"/>
                    <a:pt x="77" y="105"/>
                    <a:pt x="80" y="11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317">
              <a:extLst>
                <a:ext uri="{FF2B5EF4-FFF2-40B4-BE49-F238E27FC236}">
                  <a16:creationId xmlns:a16="http://schemas.microsoft.com/office/drawing/2014/main" xmlns="" id="{1D1E2591-DE9C-408D-863A-A408CBC9D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0320" y="4926217"/>
              <a:ext cx="85967" cy="198334"/>
            </a:xfrm>
            <a:custGeom>
              <a:avLst/>
              <a:gdLst>
                <a:gd name="T0" fmla="*/ 157 w 166"/>
                <a:gd name="T1" fmla="*/ 98 h 376"/>
                <a:gd name="T2" fmla="*/ 86 w 166"/>
                <a:gd name="T3" fmla="*/ 376 h 376"/>
                <a:gd name="T4" fmla="*/ 86 w 166"/>
                <a:gd name="T5" fmla="*/ 376 h 376"/>
                <a:gd name="T6" fmla="*/ 49 w 166"/>
                <a:gd name="T7" fmla="*/ 296 h 376"/>
                <a:gd name="T8" fmla="*/ 9 w 166"/>
                <a:gd name="T9" fmla="*/ 81 h 376"/>
                <a:gd name="T10" fmla="*/ 9 w 166"/>
                <a:gd name="T11" fmla="*/ 81 h 376"/>
                <a:gd name="T12" fmla="*/ 46 w 166"/>
                <a:gd name="T13" fmla="*/ 16 h 376"/>
                <a:gd name="T14" fmla="*/ 48 w 166"/>
                <a:gd name="T15" fmla="*/ 15 h 376"/>
                <a:gd name="T16" fmla="*/ 124 w 166"/>
                <a:gd name="T17" fmla="*/ 16 h 376"/>
                <a:gd name="T18" fmla="*/ 157 w 166"/>
                <a:gd name="T19" fmla="*/ 9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376">
                  <a:moveTo>
                    <a:pt x="157" y="98"/>
                  </a:moveTo>
                  <a:cubicBezTo>
                    <a:pt x="86" y="376"/>
                    <a:pt x="86" y="376"/>
                    <a:pt x="86" y="376"/>
                  </a:cubicBezTo>
                  <a:cubicBezTo>
                    <a:pt x="86" y="376"/>
                    <a:pt x="86" y="376"/>
                    <a:pt x="86" y="376"/>
                  </a:cubicBezTo>
                  <a:cubicBezTo>
                    <a:pt x="71" y="348"/>
                    <a:pt x="59" y="321"/>
                    <a:pt x="49" y="296"/>
                  </a:cubicBezTo>
                  <a:cubicBezTo>
                    <a:pt x="0" y="168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54"/>
                    <a:pt x="23" y="29"/>
                    <a:pt x="46" y="16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74" y="0"/>
                    <a:pt x="103" y="2"/>
                    <a:pt x="124" y="16"/>
                  </a:cubicBezTo>
                  <a:cubicBezTo>
                    <a:pt x="150" y="32"/>
                    <a:pt x="166" y="63"/>
                    <a:pt x="157" y="98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330">
              <a:extLst>
                <a:ext uri="{FF2B5EF4-FFF2-40B4-BE49-F238E27FC236}">
                  <a16:creationId xmlns:a16="http://schemas.microsoft.com/office/drawing/2014/main" xmlns="" id="{13880979-446D-4A8B-AFBB-571E62876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7517" y="5310917"/>
              <a:ext cx="158451" cy="169268"/>
            </a:xfrm>
            <a:custGeom>
              <a:avLst/>
              <a:gdLst>
                <a:gd name="T0" fmla="*/ 94 w 94"/>
                <a:gd name="T1" fmla="*/ 61 h 99"/>
                <a:gd name="T2" fmla="*/ 43 w 94"/>
                <a:gd name="T3" fmla="*/ 99 h 99"/>
                <a:gd name="T4" fmla="*/ 0 w 94"/>
                <a:gd name="T5" fmla="*/ 29 h 99"/>
                <a:gd name="T6" fmla="*/ 0 w 94"/>
                <a:gd name="T7" fmla="*/ 29 h 99"/>
                <a:gd name="T8" fmla="*/ 0 w 94"/>
                <a:gd name="T9" fmla="*/ 28 h 99"/>
                <a:gd name="T10" fmla="*/ 22 w 94"/>
                <a:gd name="T11" fmla="*/ 0 h 99"/>
                <a:gd name="T12" fmla="*/ 26 w 94"/>
                <a:gd name="T13" fmla="*/ 3 h 99"/>
                <a:gd name="T14" fmla="*/ 29 w 94"/>
                <a:gd name="T15" fmla="*/ 6 h 99"/>
                <a:gd name="T16" fmla="*/ 94 w 94"/>
                <a:gd name="T17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9">
                  <a:moveTo>
                    <a:pt x="94" y="61"/>
                  </a:moveTo>
                  <a:lnTo>
                    <a:pt x="43" y="9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22" y="0"/>
                  </a:lnTo>
                  <a:lnTo>
                    <a:pt x="26" y="3"/>
                  </a:lnTo>
                  <a:lnTo>
                    <a:pt x="29" y="6"/>
                  </a:lnTo>
                  <a:lnTo>
                    <a:pt x="94" y="61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31">
              <a:extLst>
                <a:ext uri="{FF2B5EF4-FFF2-40B4-BE49-F238E27FC236}">
                  <a16:creationId xmlns:a16="http://schemas.microsoft.com/office/drawing/2014/main" xmlns="" id="{089B4E6E-1488-4037-B708-2FE0486A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5968" y="5310917"/>
              <a:ext cx="160137" cy="169268"/>
            </a:xfrm>
            <a:custGeom>
              <a:avLst/>
              <a:gdLst>
                <a:gd name="T0" fmla="*/ 95 w 95"/>
                <a:gd name="T1" fmla="*/ 29 h 99"/>
                <a:gd name="T2" fmla="*/ 95 w 95"/>
                <a:gd name="T3" fmla="*/ 29 h 99"/>
                <a:gd name="T4" fmla="*/ 52 w 95"/>
                <a:gd name="T5" fmla="*/ 99 h 99"/>
                <a:gd name="T6" fmla="*/ 0 w 95"/>
                <a:gd name="T7" fmla="*/ 61 h 99"/>
                <a:gd name="T8" fmla="*/ 66 w 95"/>
                <a:gd name="T9" fmla="*/ 6 h 99"/>
                <a:gd name="T10" fmla="*/ 68 w 95"/>
                <a:gd name="T11" fmla="*/ 3 h 99"/>
                <a:gd name="T12" fmla="*/ 73 w 95"/>
                <a:gd name="T13" fmla="*/ 0 h 99"/>
                <a:gd name="T14" fmla="*/ 94 w 95"/>
                <a:gd name="T15" fmla="*/ 28 h 99"/>
                <a:gd name="T16" fmla="*/ 94 w 95"/>
                <a:gd name="T17" fmla="*/ 28 h 99"/>
                <a:gd name="T18" fmla="*/ 95 w 95"/>
                <a:gd name="T19" fmla="*/ 2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9">
                  <a:moveTo>
                    <a:pt x="95" y="29"/>
                  </a:moveTo>
                  <a:lnTo>
                    <a:pt x="95" y="29"/>
                  </a:lnTo>
                  <a:lnTo>
                    <a:pt x="52" y="99"/>
                  </a:lnTo>
                  <a:lnTo>
                    <a:pt x="0" y="61"/>
                  </a:lnTo>
                  <a:lnTo>
                    <a:pt x="66" y="6"/>
                  </a:lnTo>
                  <a:lnTo>
                    <a:pt x="68" y="3"/>
                  </a:lnTo>
                  <a:lnTo>
                    <a:pt x="73" y="0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5" y="29"/>
                  </a:ln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32">
              <a:extLst>
                <a:ext uri="{FF2B5EF4-FFF2-40B4-BE49-F238E27FC236}">
                  <a16:creationId xmlns:a16="http://schemas.microsoft.com/office/drawing/2014/main" xmlns="" id="{8F9C095E-02A5-4EC3-8997-7F2DE5F27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5923" y="5425473"/>
              <a:ext cx="106196" cy="335117"/>
            </a:xfrm>
            <a:custGeom>
              <a:avLst/>
              <a:gdLst>
                <a:gd name="T0" fmla="*/ 0 w 203"/>
                <a:gd name="T1" fmla="*/ 0 h 635"/>
                <a:gd name="T2" fmla="*/ 175 w 203"/>
                <a:gd name="T3" fmla="*/ 342 h 635"/>
                <a:gd name="T4" fmla="*/ 203 w 203"/>
                <a:gd name="T5" fmla="*/ 456 h 635"/>
                <a:gd name="T6" fmla="*/ 203 w 203"/>
                <a:gd name="T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635">
                  <a:moveTo>
                    <a:pt x="0" y="0"/>
                  </a:moveTo>
                  <a:cubicBezTo>
                    <a:pt x="175" y="342"/>
                    <a:pt x="175" y="342"/>
                    <a:pt x="175" y="342"/>
                  </a:cubicBezTo>
                  <a:cubicBezTo>
                    <a:pt x="193" y="377"/>
                    <a:pt x="203" y="416"/>
                    <a:pt x="203" y="456"/>
                  </a:cubicBezTo>
                  <a:cubicBezTo>
                    <a:pt x="203" y="635"/>
                    <a:pt x="203" y="635"/>
                    <a:pt x="203" y="635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333">
              <a:extLst>
                <a:ext uri="{FF2B5EF4-FFF2-40B4-BE49-F238E27FC236}">
                  <a16:creationId xmlns:a16="http://schemas.microsoft.com/office/drawing/2014/main" xmlns="" id="{686B15C9-7885-4248-B2E0-4434DDAB1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1502" y="5425473"/>
              <a:ext cx="104510" cy="335117"/>
            </a:xfrm>
            <a:custGeom>
              <a:avLst/>
              <a:gdLst>
                <a:gd name="T0" fmla="*/ 202 w 202"/>
                <a:gd name="T1" fmla="*/ 0 h 635"/>
                <a:gd name="T2" fmla="*/ 28 w 202"/>
                <a:gd name="T3" fmla="*/ 342 h 635"/>
                <a:gd name="T4" fmla="*/ 0 w 202"/>
                <a:gd name="T5" fmla="*/ 456 h 635"/>
                <a:gd name="T6" fmla="*/ 0 w 202"/>
                <a:gd name="T7" fmla="*/ 635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635">
                  <a:moveTo>
                    <a:pt x="202" y="0"/>
                  </a:moveTo>
                  <a:cubicBezTo>
                    <a:pt x="28" y="342"/>
                    <a:pt x="28" y="342"/>
                    <a:pt x="28" y="342"/>
                  </a:cubicBezTo>
                  <a:cubicBezTo>
                    <a:pt x="10" y="377"/>
                    <a:pt x="0" y="416"/>
                    <a:pt x="0" y="456"/>
                  </a:cubicBezTo>
                  <a:cubicBezTo>
                    <a:pt x="0" y="635"/>
                    <a:pt x="0" y="635"/>
                    <a:pt x="0" y="635"/>
                  </a:cubicBezTo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316">
              <a:extLst>
                <a:ext uri="{FF2B5EF4-FFF2-40B4-BE49-F238E27FC236}">
                  <a16:creationId xmlns:a16="http://schemas.microsoft.com/office/drawing/2014/main" xmlns="" id="{1BE5BD77-C2A7-46C0-B0A3-F45B0F698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2733" y="5081806"/>
              <a:ext cx="42141" cy="64972"/>
            </a:xfrm>
            <a:custGeom>
              <a:avLst/>
              <a:gdLst>
                <a:gd name="T0" fmla="*/ 81 w 81"/>
                <a:gd name="T1" fmla="*/ 57 h 121"/>
                <a:gd name="T2" fmla="*/ 17 w 81"/>
                <a:gd name="T3" fmla="*/ 121 h 121"/>
                <a:gd name="T4" fmla="*/ 0 w 81"/>
                <a:gd name="T5" fmla="*/ 118 h 121"/>
                <a:gd name="T6" fmla="*/ 4 w 81"/>
                <a:gd name="T7" fmla="*/ 102 h 121"/>
                <a:gd name="T8" fmla="*/ 6 w 81"/>
                <a:gd name="T9" fmla="*/ 95 h 121"/>
                <a:gd name="T10" fmla="*/ 7 w 81"/>
                <a:gd name="T11" fmla="*/ 88 h 121"/>
                <a:gd name="T12" fmla="*/ 9 w 81"/>
                <a:gd name="T13" fmla="*/ 81 h 121"/>
                <a:gd name="T14" fmla="*/ 9 w 81"/>
                <a:gd name="T15" fmla="*/ 81 h 121"/>
                <a:gd name="T16" fmla="*/ 46 w 81"/>
                <a:gd name="T17" fmla="*/ 0 h 121"/>
                <a:gd name="T18" fmla="*/ 81 w 81"/>
                <a:gd name="T19" fmla="*/ 57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21">
                  <a:moveTo>
                    <a:pt x="81" y="57"/>
                  </a:moveTo>
                  <a:cubicBezTo>
                    <a:pt x="81" y="92"/>
                    <a:pt x="52" y="121"/>
                    <a:pt x="17" y="121"/>
                  </a:cubicBezTo>
                  <a:cubicBezTo>
                    <a:pt x="11" y="121"/>
                    <a:pt x="5" y="120"/>
                    <a:pt x="0" y="118"/>
                  </a:cubicBezTo>
                  <a:cubicBezTo>
                    <a:pt x="1" y="113"/>
                    <a:pt x="3" y="108"/>
                    <a:pt x="4" y="102"/>
                  </a:cubicBezTo>
                  <a:cubicBezTo>
                    <a:pt x="4" y="100"/>
                    <a:pt x="5" y="98"/>
                    <a:pt x="6" y="95"/>
                  </a:cubicBezTo>
                  <a:cubicBezTo>
                    <a:pt x="6" y="93"/>
                    <a:pt x="7" y="90"/>
                    <a:pt x="7" y="88"/>
                  </a:cubicBezTo>
                  <a:cubicBezTo>
                    <a:pt x="8" y="85"/>
                    <a:pt x="8" y="83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24" y="53"/>
                    <a:pt x="36" y="26"/>
                    <a:pt x="46" y="0"/>
                  </a:cubicBezTo>
                  <a:cubicBezTo>
                    <a:pt x="66" y="11"/>
                    <a:pt x="81" y="32"/>
                    <a:pt x="81" y="57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18">
              <a:extLst>
                <a:ext uri="{FF2B5EF4-FFF2-40B4-BE49-F238E27FC236}">
                  <a16:creationId xmlns:a16="http://schemas.microsoft.com/office/drawing/2014/main" xmlns="" id="{73415C51-B44A-43C8-9F1F-F8E590D25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5649" y="4926217"/>
              <a:ext cx="85967" cy="198334"/>
            </a:xfrm>
            <a:custGeom>
              <a:avLst/>
              <a:gdLst>
                <a:gd name="T0" fmla="*/ 118 w 166"/>
                <a:gd name="T1" fmla="*/ 295 h 376"/>
                <a:gd name="T2" fmla="*/ 81 w 166"/>
                <a:gd name="T3" fmla="*/ 376 h 376"/>
                <a:gd name="T4" fmla="*/ 81 w 166"/>
                <a:gd name="T5" fmla="*/ 376 h 376"/>
                <a:gd name="T6" fmla="*/ 81 w 166"/>
                <a:gd name="T7" fmla="*/ 376 h 376"/>
                <a:gd name="T8" fmla="*/ 9 w 166"/>
                <a:gd name="T9" fmla="*/ 98 h 376"/>
                <a:gd name="T10" fmla="*/ 42 w 166"/>
                <a:gd name="T11" fmla="*/ 16 h 376"/>
                <a:gd name="T12" fmla="*/ 118 w 166"/>
                <a:gd name="T13" fmla="*/ 15 h 376"/>
                <a:gd name="T14" fmla="*/ 120 w 166"/>
                <a:gd name="T15" fmla="*/ 16 h 376"/>
                <a:gd name="T16" fmla="*/ 158 w 166"/>
                <a:gd name="T17" fmla="*/ 81 h 376"/>
                <a:gd name="T18" fmla="*/ 158 w 166"/>
                <a:gd name="T19" fmla="*/ 81 h 376"/>
                <a:gd name="T20" fmla="*/ 118 w 166"/>
                <a:gd name="T21" fmla="*/ 29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376">
                  <a:moveTo>
                    <a:pt x="118" y="295"/>
                  </a:moveTo>
                  <a:cubicBezTo>
                    <a:pt x="108" y="321"/>
                    <a:pt x="96" y="348"/>
                    <a:pt x="81" y="376"/>
                  </a:cubicBezTo>
                  <a:cubicBezTo>
                    <a:pt x="81" y="376"/>
                    <a:pt x="81" y="376"/>
                    <a:pt x="81" y="376"/>
                  </a:cubicBezTo>
                  <a:cubicBezTo>
                    <a:pt x="81" y="376"/>
                    <a:pt x="81" y="376"/>
                    <a:pt x="81" y="376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0" y="63"/>
                    <a:pt x="17" y="32"/>
                    <a:pt x="42" y="16"/>
                  </a:cubicBezTo>
                  <a:cubicBezTo>
                    <a:pt x="64" y="2"/>
                    <a:pt x="92" y="0"/>
                    <a:pt x="118" y="15"/>
                  </a:cubicBezTo>
                  <a:cubicBezTo>
                    <a:pt x="120" y="16"/>
                    <a:pt x="120" y="16"/>
                    <a:pt x="120" y="16"/>
                  </a:cubicBezTo>
                  <a:cubicBezTo>
                    <a:pt x="144" y="29"/>
                    <a:pt x="158" y="54"/>
                    <a:pt x="158" y="81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8" y="81"/>
                    <a:pt x="166" y="168"/>
                    <a:pt x="118" y="295"/>
                  </a:cubicBezTo>
                  <a:close/>
                </a:path>
              </a:pathLst>
            </a:custGeom>
            <a:noFill/>
            <a:ln w="1587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Oval 325">
              <a:extLst>
                <a:ext uri="{FF2B5EF4-FFF2-40B4-BE49-F238E27FC236}">
                  <a16:creationId xmlns:a16="http://schemas.microsoft.com/office/drawing/2014/main" xmlns="" id="{132F48A2-8945-46FA-95DB-62B675A49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2133" y="5045901"/>
              <a:ext cx="116309" cy="100877"/>
            </a:xfrm>
            <a:prstGeom prst="ellips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Oval 319">
              <a:extLst>
                <a:ext uri="{FF2B5EF4-FFF2-40B4-BE49-F238E27FC236}">
                  <a16:creationId xmlns:a16="http://schemas.microsoft.com/office/drawing/2014/main" xmlns="" id="{080ECDE0-49AA-46E8-B513-17C5412EA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7645" y="5080097"/>
              <a:ext cx="25285" cy="32485"/>
            </a:xfrm>
            <a:prstGeom prst="ellipse">
              <a:avLst/>
            </a:prstGeom>
            <a:solidFill>
              <a:srgbClr val="1B1B1B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Oval 320">
              <a:extLst>
                <a:ext uri="{FF2B5EF4-FFF2-40B4-BE49-F238E27FC236}">
                  <a16:creationId xmlns:a16="http://schemas.microsoft.com/office/drawing/2014/main" xmlns="" id="{08D4681F-3F64-43AA-94F4-6A3522049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5982" y="5080097"/>
              <a:ext cx="25285" cy="32485"/>
            </a:xfrm>
            <a:prstGeom prst="ellipse">
              <a:avLst/>
            </a:prstGeom>
            <a:solidFill>
              <a:srgbClr val="1B1B1B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321">
              <a:extLst>
                <a:ext uri="{FF2B5EF4-FFF2-40B4-BE49-F238E27FC236}">
                  <a16:creationId xmlns:a16="http://schemas.microsoft.com/office/drawing/2014/main" xmlns="" id="{6761774C-E9EA-499C-8316-38D74C12F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0129" y="5158746"/>
              <a:ext cx="28656" cy="5130"/>
            </a:xfrm>
            <a:custGeom>
              <a:avLst/>
              <a:gdLst>
                <a:gd name="T0" fmla="*/ 0 w 56"/>
                <a:gd name="T1" fmla="*/ 0 h 12"/>
                <a:gd name="T2" fmla="*/ 28 w 56"/>
                <a:gd name="T3" fmla="*/ 12 h 12"/>
                <a:gd name="T4" fmla="*/ 56 w 5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2">
                  <a:moveTo>
                    <a:pt x="0" y="0"/>
                  </a:moveTo>
                  <a:cubicBezTo>
                    <a:pt x="4" y="7"/>
                    <a:pt x="15" y="12"/>
                    <a:pt x="28" y="12"/>
                  </a:cubicBezTo>
                  <a:cubicBezTo>
                    <a:pt x="40" y="12"/>
                    <a:pt x="51" y="7"/>
                    <a:pt x="56" y="0"/>
                  </a:cubicBezTo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322">
              <a:extLst>
                <a:ext uri="{FF2B5EF4-FFF2-40B4-BE49-F238E27FC236}">
                  <a16:creationId xmlns:a16="http://schemas.microsoft.com/office/drawing/2014/main" xmlns="" id="{C93F90B0-6B65-40F3-AA9E-E626C44C4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0129" y="5080097"/>
              <a:ext cx="28656" cy="6839"/>
            </a:xfrm>
            <a:custGeom>
              <a:avLst/>
              <a:gdLst>
                <a:gd name="T0" fmla="*/ 56 w 56"/>
                <a:gd name="T1" fmla="*/ 12 h 12"/>
                <a:gd name="T2" fmla="*/ 28 w 56"/>
                <a:gd name="T3" fmla="*/ 0 h 12"/>
                <a:gd name="T4" fmla="*/ 0 w 5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2">
                  <a:moveTo>
                    <a:pt x="56" y="12"/>
                  </a:moveTo>
                  <a:cubicBezTo>
                    <a:pt x="51" y="5"/>
                    <a:pt x="40" y="0"/>
                    <a:pt x="28" y="0"/>
                  </a:cubicBezTo>
                  <a:cubicBezTo>
                    <a:pt x="15" y="0"/>
                    <a:pt x="4" y="5"/>
                    <a:pt x="0" y="12"/>
                  </a:cubicBezTo>
                </a:path>
              </a:pathLst>
            </a:cu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323">
              <a:extLst>
                <a:ext uri="{FF2B5EF4-FFF2-40B4-BE49-F238E27FC236}">
                  <a16:creationId xmlns:a16="http://schemas.microsoft.com/office/drawing/2014/main" xmlns="" id="{F87BA6FE-788D-4B11-9658-98485333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3385" y="5233976"/>
              <a:ext cx="42141" cy="5130"/>
            </a:xfrm>
            <a:custGeom>
              <a:avLst/>
              <a:gdLst>
                <a:gd name="T0" fmla="*/ 0 w 80"/>
                <a:gd name="T1" fmla="*/ 0 h 12"/>
                <a:gd name="T2" fmla="*/ 40 w 80"/>
                <a:gd name="T3" fmla="*/ 12 h 12"/>
                <a:gd name="T4" fmla="*/ 80 w 80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12">
                  <a:moveTo>
                    <a:pt x="0" y="0"/>
                  </a:moveTo>
                  <a:cubicBezTo>
                    <a:pt x="7" y="7"/>
                    <a:pt x="22" y="12"/>
                    <a:pt x="40" y="12"/>
                  </a:cubicBezTo>
                  <a:cubicBezTo>
                    <a:pt x="58" y="12"/>
                    <a:pt x="73" y="7"/>
                    <a:pt x="80" y="0"/>
                  </a:cubicBezTo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324">
              <a:extLst>
                <a:ext uri="{FF2B5EF4-FFF2-40B4-BE49-F238E27FC236}">
                  <a16:creationId xmlns:a16="http://schemas.microsoft.com/office/drawing/2014/main" xmlns="" id="{2D5A2870-BCC7-454C-96FA-9927DB74F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244" y="5180974"/>
              <a:ext cx="124738" cy="32485"/>
            </a:xfrm>
            <a:custGeom>
              <a:avLst/>
              <a:gdLst>
                <a:gd name="T0" fmla="*/ 224 w 240"/>
                <a:gd name="T1" fmla="*/ 62 h 62"/>
                <a:gd name="T2" fmla="*/ 16 w 240"/>
                <a:gd name="T3" fmla="*/ 62 h 62"/>
                <a:gd name="T4" fmla="*/ 5 w 240"/>
                <a:gd name="T5" fmla="*/ 42 h 62"/>
                <a:gd name="T6" fmla="*/ 28 w 240"/>
                <a:gd name="T7" fmla="*/ 6 h 62"/>
                <a:gd name="T8" fmla="*/ 39 w 240"/>
                <a:gd name="T9" fmla="*/ 0 h 62"/>
                <a:gd name="T10" fmla="*/ 201 w 240"/>
                <a:gd name="T11" fmla="*/ 0 h 62"/>
                <a:gd name="T12" fmla="*/ 212 w 240"/>
                <a:gd name="T13" fmla="*/ 6 h 62"/>
                <a:gd name="T14" fmla="*/ 234 w 240"/>
                <a:gd name="T15" fmla="*/ 42 h 62"/>
                <a:gd name="T16" fmla="*/ 224 w 240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62">
                  <a:moveTo>
                    <a:pt x="224" y="62"/>
                  </a:moveTo>
                  <a:cubicBezTo>
                    <a:pt x="16" y="62"/>
                    <a:pt x="16" y="62"/>
                    <a:pt x="16" y="62"/>
                  </a:cubicBezTo>
                  <a:cubicBezTo>
                    <a:pt x="6" y="62"/>
                    <a:pt x="0" y="50"/>
                    <a:pt x="5" y="42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3"/>
                    <a:pt x="35" y="0"/>
                    <a:pt x="39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5" y="0"/>
                    <a:pt x="209" y="3"/>
                    <a:pt x="212" y="6"/>
                  </a:cubicBezTo>
                  <a:cubicBezTo>
                    <a:pt x="234" y="42"/>
                    <a:pt x="234" y="42"/>
                    <a:pt x="234" y="42"/>
                  </a:cubicBezTo>
                  <a:cubicBezTo>
                    <a:pt x="240" y="50"/>
                    <a:pt x="234" y="62"/>
                    <a:pt x="224" y="62"/>
                  </a:cubicBezTo>
                  <a:close/>
                </a:path>
              </a:pathLst>
            </a:cu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326">
              <a:extLst>
                <a:ext uri="{FF2B5EF4-FFF2-40B4-BE49-F238E27FC236}">
                  <a16:creationId xmlns:a16="http://schemas.microsoft.com/office/drawing/2014/main" xmlns="" id="{EB58AEAE-4397-41BA-950A-24809044F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0469" y="5045901"/>
              <a:ext cx="116309" cy="100877"/>
            </a:xfrm>
            <a:prstGeom prst="ellipse">
              <a:avLst/>
            </a:prstGeom>
            <a:noFill/>
            <a:ln w="11113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Line 327">
              <a:extLst>
                <a:ext uri="{FF2B5EF4-FFF2-40B4-BE49-F238E27FC236}">
                  <a16:creationId xmlns:a16="http://schemas.microsoft.com/office/drawing/2014/main" xmlns="" id="{2EF87F58-F967-435B-8AC8-C1ED9720E6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4844" y="4967252"/>
              <a:ext cx="77539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Line 328">
              <a:extLst>
                <a:ext uri="{FF2B5EF4-FFF2-40B4-BE49-F238E27FC236}">
                  <a16:creationId xmlns:a16="http://schemas.microsoft.com/office/drawing/2014/main" xmlns="" id="{FD293A69-B061-433A-9AE3-6978C1F18C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92930" y="4996318"/>
              <a:ext cx="123051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Line 329">
              <a:extLst>
                <a:ext uri="{FF2B5EF4-FFF2-40B4-BE49-F238E27FC236}">
                  <a16:creationId xmlns:a16="http://schemas.microsoft.com/office/drawing/2014/main" xmlns="" id="{DE2EC3DE-382A-4C84-AB77-FDE3E00701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99672" y="5027093"/>
              <a:ext cx="109567" cy="0"/>
            </a:xfrm>
            <a:prstGeom prst="line">
              <a:avLst/>
            </a:prstGeom>
            <a:noFill/>
            <a:ln w="9525" cap="rnd">
              <a:solidFill>
                <a:srgbClr val="670F3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xmlns="" id="{F99BED3E-0F60-4502-8171-AD2D8F7CD569}"/>
                </a:ext>
              </a:extLst>
            </p:cNvPr>
            <p:cNvGrpSpPr/>
            <p:nvPr/>
          </p:nvGrpSpPr>
          <p:grpSpPr>
            <a:xfrm>
              <a:off x="9537313" y="4787725"/>
              <a:ext cx="605147" cy="976284"/>
              <a:chOff x="9594463" y="4787725"/>
              <a:chExt cx="605147" cy="976284"/>
            </a:xfrm>
          </p:grpSpPr>
          <p:sp>
            <p:nvSpPr>
              <p:cNvPr id="251" name="Freeform 334">
                <a:extLst>
                  <a:ext uri="{FF2B5EF4-FFF2-40B4-BE49-F238E27FC236}">
                    <a16:creationId xmlns:a16="http://schemas.microsoft.com/office/drawing/2014/main" xmlns="" id="{34619F3C-8B9D-4800-B9D0-96E608BAA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94463" y="5416924"/>
                <a:ext cx="605147" cy="343666"/>
              </a:xfrm>
              <a:custGeom>
                <a:avLst/>
                <a:gdLst>
                  <a:gd name="T0" fmla="*/ 292 w 1161"/>
                  <a:gd name="T1" fmla="*/ 3 h 649"/>
                  <a:gd name="T2" fmla="*/ 292 w 1161"/>
                  <a:gd name="T3" fmla="*/ 3 h 649"/>
                  <a:gd name="T4" fmla="*/ 294 w 1161"/>
                  <a:gd name="T5" fmla="*/ 0 h 649"/>
                  <a:gd name="T6" fmla="*/ 268 w 1161"/>
                  <a:gd name="T7" fmla="*/ 7 h 649"/>
                  <a:gd name="T8" fmla="*/ 192 w 1161"/>
                  <a:gd name="T9" fmla="*/ 19 h 649"/>
                  <a:gd name="T10" fmla="*/ 0 w 1161"/>
                  <a:gd name="T11" fmla="*/ 244 h 649"/>
                  <a:gd name="T12" fmla="*/ 0 w 1161"/>
                  <a:gd name="T13" fmla="*/ 649 h 649"/>
                  <a:gd name="T14" fmla="*/ 1153 w 1161"/>
                  <a:gd name="T15" fmla="*/ 649 h 649"/>
                  <a:gd name="T16" fmla="*/ 1161 w 1161"/>
                  <a:gd name="T17" fmla="*/ 243 h 649"/>
                  <a:gd name="T18" fmla="*/ 1086 w 1161"/>
                  <a:gd name="T19" fmla="*/ 118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61" h="649">
                    <a:moveTo>
                      <a:pt x="292" y="3"/>
                    </a:moveTo>
                    <a:cubicBezTo>
                      <a:pt x="292" y="3"/>
                      <a:pt x="292" y="3"/>
                      <a:pt x="292" y="3"/>
                    </a:cubicBezTo>
                    <a:cubicBezTo>
                      <a:pt x="294" y="0"/>
                      <a:pt x="294" y="0"/>
                      <a:pt x="294" y="0"/>
                    </a:cubicBezTo>
                    <a:cubicBezTo>
                      <a:pt x="286" y="3"/>
                      <a:pt x="277" y="5"/>
                      <a:pt x="268" y="7"/>
                    </a:cubicBezTo>
                    <a:cubicBezTo>
                      <a:pt x="192" y="19"/>
                      <a:pt x="192" y="19"/>
                      <a:pt x="192" y="19"/>
                    </a:cubicBezTo>
                    <a:cubicBezTo>
                      <a:pt x="81" y="37"/>
                      <a:pt x="0" y="132"/>
                      <a:pt x="0" y="244"/>
                    </a:cubicBezTo>
                    <a:cubicBezTo>
                      <a:pt x="0" y="649"/>
                      <a:pt x="0" y="649"/>
                      <a:pt x="0" y="649"/>
                    </a:cubicBezTo>
                    <a:cubicBezTo>
                      <a:pt x="1153" y="649"/>
                      <a:pt x="1153" y="649"/>
                      <a:pt x="1153" y="649"/>
                    </a:cubicBezTo>
                    <a:cubicBezTo>
                      <a:pt x="1161" y="243"/>
                      <a:pt x="1161" y="243"/>
                      <a:pt x="1161" y="243"/>
                    </a:cubicBezTo>
                    <a:cubicBezTo>
                      <a:pt x="1161" y="243"/>
                      <a:pt x="1156" y="132"/>
                      <a:pt x="1086" y="118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Freeform 335">
                <a:extLst>
                  <a:ext uri="{FF2B5EF4-FFF2-40B4-BE49-F238E27FC236}">
                    <a16:creationId xmlns:a16="http://schemas.microsoft.com/office/drawing/2014/main" xmlns="" id="{50D8F5E7-2ECE-4B5E-88B4-5F7D8EF79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1159" y="5416924"/>
                <a:ext cx="13485" cy="3419"/>
              </a:xfrm>
              <a:custGeom>
                <a:avLst/>
                <a:gdLst>
                  <a:gd name="T0" fmla="*/ 2 w 26"/>
                  <a:gd name="T1" fmla="*/ 3 h 7"/>
                  <a:gd name="T2" fmla="*/ 2 w 26"/>
                  <a:gd name="T3" fmla="*/ 3 h 7"/>
                  <a:gd name="T4" fmla="*/ 0 w 26"/>
                  <a:gd name="T5" fmla="*/ 0 h 7"/>
                  <a:gd name="T6" fmla="*/ 26 w 26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7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3"/>
                      <a:pt x="17" y="5"/>
                      <a:pt x="26" y="7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Freeform 336">
                <a:extLst>
                  <a:ext uri="{FF2B5EF4-FFF2-40B4-BE49-F238E27FC236}">
                    <a16:creationId xmlns:a16="http://schemas.microsoft.com/office/drawing/2014/main" xmlns="" id="{3EEFF46D-4304-4FC7-8C52-0532E2224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88313" y="5317757"/>
                <a:ext cx="212391" cy="188075"/>
              </a:xfrm>
              <a:custGeom>
                <a:avLst/>
                <a:gdLst>
                  <a:gd name="T0" fmla="*/ 213 w 409"/>
                  <a:gd name="T1" fmla="*/ 355 h 355"/>
                  <a:gd name="T2" fmla="*/ 0 w 409"/>
                  <a:gd name="T3" fmla="*/ 116 h 355"/>
                  <a:gd name="T4" fmla="*/ 11 w 409"/>
                  <a:gd name="T5" fmla="*/ 70 h 355"/>
                  <a:gd name="T6" fmla="*/ 16 w 409"/>
                  <a:gd name="T7" fmla="*/ 0 h 355"/>
                  <a:gd name="T8" fmla="*/ 205 w 409"/>
                  <a:gd name="T9" fmla="*/ 95 h 355"/>
                  <a:gd name="T10" fmla="*/ 393 w 409"/>
                  <a:gd name="T11" fmla="*/ 0 h 355"/>
                  <a:gd name="T12" fmla="*/ 398 w 409"/>
                  <a:gd name="T13" fmla="*/ 70 h 355"/>
                  <a:gd name="T14" fmla="*/ 409 w 409"/>
                  <a:gd name="T15" fmla="*/ 116 h 355"/>
                  <a:gd name="T16" fmla="*/ 222 w 409"/>
                  <a:gd name="T17" fmla="*/ 350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9" h="355">
                    <a:moveTo>
                      <a:pt x="213" y="355"/>
                    </a:moveTo>
                    <a:cubicBezTo>
                      <a:pt x="0" y="116"/>
                      <a:pt x="0" y="116"/>
                      <a:pt x="0" y="116"/>
                    </a:cubicBezTo>
                    <a:cubicBezTo>
                      <a:pt x="6" y="102"/>
                      <a:pt x="10" y="86"/>
                      <a:pt x="11" y="7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68" y="59"/>
                      <a:pt x="134" y="95"/>
                      <a:pt x="205" y="95"/>
                    </a:cubicBezTo>
                    <a:cubicBezTo>
                      <a:pt x="275" y="95"/>
                      <a:pt x="341" y="59"/>
                      <a:pt x="393" y="0"/>
                    </a:cubicBezTo>
                    <a:cubicBezTo>
                      <a:pt x="398" y="70"/>
                      <a:pt x="398" y="70"/>
                      <a:pt x="398" y="70"/>
                    </a:cubicBezTo>
                    <a:cubicBezTo>
                      <a:pt x="399" y="86"/>
                      <a:pt x="403" y="102"/>
                      <a:pt x="409" y="116"/>
                    </a:cubicBezTo>
                    <a:cubicBezTo>
                      <a:pt x="222" y="350"/>
                      <a:pt x="222" y="350"/>
                      <a:pt x="222" y="350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338">
                <a:extLst>
                  <a:ext uri="{FF2B5EF4-FFF2-40B4-BE49-F238E27FC236}">
                    <a16:creationId xmlns:a16="http://schemas.microsoft.com/office/drawing/2014/main" xmlns="" id="{B16FC567-5840-4FFA-84C5-D4F5485C5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05717" y="4859536"/>
                <a:ext cx="377584" cy="282113"/>
              </a:xfrm>
              <a:custGeom>
                <a:avLst/>
                <a:gdLst>
                  <a:gd name="T0" fmla="*/ 705 w 727"/>
                  <a:gd name="T1" fmla="*/ 532 h 532"/>
                  <a:gd name="T2" fmla="*/ 727 w 727"/>
                  <a:gd name="T3" fmla="*/ 393 h 532"/>
                  <a:gd name="T4" fmla="*/ 727 w 727"/>
                  <a:gd name="T5" fmla="*/ 383 h 532"/>
                  <a:gd name="T6" fmla="*/ 532 w 727"/>
                  <a:gd name="T7" fmla="*/ 39 h 532"/>
                  <a:gd name="T8" fmla="*/ 364 w 727"/>
                  <a:gd name="T9" fmla="*/ 0 h 532"/>
                  <a:gd name="T10" fmla="*/ 195 w 727"/>
                  <a:gd name="T11" fmla="*/ 39 h 532"/>
                  <a:gd name="T12" fmla="*/ 0 w 727"/>
                  <a:gd name="T13" fmla="*/ 383 h 532"/>
                  <a:gd name="T14" fmla="*/ 0 w 727"/>
                  <a:gd name="T15" fmla="*/ 393 h 532"/>
                  <a:gd name="T16" fmla="*/ 22 w 727"/>
                  <a:gd name="T17" fmla="*/ 532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7" h="532">
                    <a:moveTo>
                      <a:pt x="705" y="532"/>
                    </a:moveTo>
                    <a:cubicBezTo>
                      <a:pt x="718" y="488"/>
                      <a:pt x="726" y="441"/>
                      <a:pt x="727" y="393"/>
                    </a:cubicBezTo>
                    <a:cubicBezTo>
                      <a:pt x="727" y="390"/>
                      <a:pt x="727" y="387"/>
                      <a:pt x="727" y="383"/>
                    </a:cubicBezTo>
                    <a:cubicBezTo>
                      <a:pt x="727" y="219"/>
                      <a:pt x="648" y="98"/>
                      <a:pt x="532" y="39"/>
                    </a:cubicBezTo>
                    <a:cubicBezTo>
                      <a:pt x="482" y="14"/>
                      <a:pt x="424" y="0"/>
                      <a:pt x="364" y="0"/>
                    </a:cubicBezTo>
                    <a:cubicBezTo>
                      <a:pt x="303" y="0"/>
                      <a:pt x="245" y="14"/>
                      <a:pt x="195" y="39"/>
                    </a:cubicBezTo>
                    <a:cubicBezTo>
                      <a:pt x="79" y="98"/>
                      <a:pt x="0" y="219"/>
                      <a:pt x="0" y="383"/>
                    </a:cubicBezTo>
                    <a:cubicBezTo>
                      <a:pt x="0" y="387"/>
                      <a:pt x="0" y="390"/>
                      <a:pt x="0" y="393"/>
                    </a:cubicBezTo>
                    <a:cubicBezTo>
                      <a:pt x="1" y="441"/>
                      <a:pt x="9" y="488"/>
                      <a:pt x="22" y="532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341">
                <a:extLst>
                  <a:ext uri="{FF2B5EF4-FFF2-40B4-BE49-F238E27FC236}">
                    <a16:creationId xmlns:a16="http://schemas.microsoft.com/office/drawing/2014/main" xmlns="" id="{72755740-D458-4A99-850E-572EE85D29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02344" y="5387858"/>
                <a:ext cx="465238" cy="376151"/>
              </a:xfrm>
              <a:custGeom>
                <a:avLst/>
                <a:gdLst>
                  <a:gd name="T0" fmla="*/ 26 w 894"/>
                  <a:gd name="T1" fmla="*/ 705 h 710"/>
                  <a:gd name="T2" fmla="*/ 26 w 894"/>
                  <a:gd name="T3" fmla="*/ 552 h 710"/>
                  <a:gd name="T4" fmla="*/ 0 w 894"/>
                  <a:gd name="T5" fmla="*/ 455 h 710"/>
                  <a:gd name="T6" fmla="*/ 654 w 894"/>
                  <a:gd name="T7" fmla="*/ 59 h 710"/>
                  <a:gd name="T8" fmla="*/ 894 w 894"/>
                  <a:gd name="T9" fmla="*/ 159 h 710"/>
                  <a:gd name="T10" fmla="*/ 592 w 894"/>
                  <a:gd name="T11" fmla="*/ 710 h 710"/>
                  <a:gd name="T12" fmla="*/ 26 w 894"/>
                  <a:gd name="T13" fmla="*/ 705 h 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4" h="710">
                    <a:moveTo>
                      <a:pt x="26" y="705"/>
                    </a:moveTo>
                    <a:cubicBezTo>
                      <a:pt x="26" y="552"/>
                      <a:pt x="26" y="552"/>
                      <a:pt x="26" y="552"/>
                    </a:cubicBezTo>
                    <a:cubicBezTo>
                      <a:pt x="26" y="518"/>
                      <a:pt x="17" y="485"/>
                      <a:pt x="0" y="455"/>
                    </a:cubicBezTo>
                    <a:cubicBezTo>
                      <a:pt x="654" y="59"/>
                      <a:pt x="654" y="59"/>
                      <a:pt x="654" y="59"/>
                    </a:cubicBezTo>
                    <a:cubicBezTo>
                      <a:pt x="654" y="59"/>
                      <a:pt x="874" y="0"/>
                      <a:pt x="894" y="159"/>
                    </a:cubicBezTo>
                    <a:cubicBezTo>
                      <a:pt x="592" y="710"/>
                      <a:pt x="592" y="710"/>
                      <a:pt x="592" y="710"/>
                    </a:cubicBezTo>
                    <a:cubicBezTo>
                      <a:pt x="592" y="710"/>
                      <a:pt x="20" y="705"/>
                      <a:pt x="26" y="705"/>
                    </a:cubicBezTo>
                    <a:close/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342">
                <a:extLst>
                  <a:ext uri="{FF2B5EF4-FFF2-40B4-BE49-F238E27FC236}">
                    <a16:creationId xmlns:a16="http://schemas.microsoft.com/office/drawing/2014/main" xmlns="" id="{CD317C52-CBED-43B4-935C-DB1D8DB354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1501" y="5628936"/>
                <a:ext cx="13485" cy="131653"/>
              </a:xfrm>
              <a:custGeom>
                <a:avLst/>
                <a:gdLst>
                  <a:gd name="T0" fmla="*/ 26 w 26"/>
                  <a:gd name="T1" fmla="*/ 0 h 250"/>
                  <a:gd name="T2" fmla="*/ 0 w 26"/>
                  <a:gd name="T3" fmla="*/ 97 h 250"/>
                  <a:gd name="T4" fmla="*/ 0 w 26"/>
                  <a:gd name="T5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" h="250">
                    <a:moveTo>
                      <a:pt x="26" y="0"/>
                    </a:moveTo>
                    <a:cubicBezTo>
                      <a:pt x="9" y="30"/>
                      <a:pt x="0" y="63"/>
                      <a:pt x="0" y="97"/>
                    </a:cubicBezTo>
                    <a:cubicBezTo>
                      <a:pt x="0" y="250"/>
                      <a:pt x="0" y="250"/>
                      <a:pt x="0" y="250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Line 343">
                <a:extLst>
                  <a:ext uri="{FF2B5EF4-FFF2-40B4-BE49-F238E27FC236}">
                    <a16:creationId xmlns:a16="http://schemas.microsoft.com/office/drawing/2014/main" xmlns="" id="{7B2A503F-BFEC-4A5A-A6A7-21306522BF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05717" y="5427183"/>
                <a:ext cx="0" cy="0"/>
              </a:xfrm>
              <a:prstGeom prst="line">
                <a:avLst/>
              </a:pr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Line 344">
                <a:extLst>
                  <a:ext uri="{FF2B5EF4-FFF2-40B4-BE49-F238E27FC236}">
                    <a16:creationId xmlns:a16="http://schemas.microsoft.com/office/drawing/2014/main" xmlns="" id="{1C3C1AA0-11DA-449E-86BA-F4AE459EE5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083301" y="5427183"/>
                <a:ext cx="0" cy="0"/>
              </a:xfrm>
              <a:prstGeom prst="line">
                <a:avLst/>
              </a:pr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345">
                <a:extLst>
                  <a:ext uri="{FF2B5EF4-FFF2-40B4-BE49-F238E27FC236}">
                    <a16:creationId xmlns:a16="http://schemas.microsoft.com/office/drawing/2014/main" xmlns="" id="{F6641633-A96B-45FC-8B73-BAA7E4EF0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46172" y="5372470"/>
                <a:ext cx="153393" cy="133362"/>
              </a:xfrm>
              <a:custGeom>
                <a:avLst/>
                <a:gdLst>
                  <a:gd name="T0" fmla="*/ 0 w 91"/>
                  <a:gd name="T1" fmla="*/ 27 h 78"/>
                  <a:gd name="T2" fmla="*/ 0 w 91"/>
                  <a:gd name="T3" fmla="*/ 27 h 78"/>
                  <a:gd name="T4" fmla="*/ 1 w 91"/>
                  <a:gd name="T5" fmla="*/ 26 h 78"/>
                  <a:gd name="T6" fmla="*/ 20 w 91"/>
                  <a:gd name="T7" fmla="*/ 0 h 78"/>
                  <a:gd name="T8" fmla="*/ 24 w 91"/>
                  <a:gd name="T9" fmla="*/ 4 h 78"/>
                  <a:gd name="T10" fmla="*/ 25 w 91"/>
                  <a:gd name="T11" fmla="*/ 4 h 78"/>
                  <a:gd name="T12" fmla="*/ 91 w 91"/>
                  <a:gd name="T1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78">
                    <a:moveTo>
                      <a:pt x="0" y="27"/>
                    </a:moveTo>
                    <a:lnTo>
                      <a:pt x="0" y="27"/>
                    </a:lnTo>
                    <a:lnTo>
                      <a:pt x="1" y="26"/>
                    </a:lnTo>
                    <a:lnTo>
                      <a:pt x="20" y="0"/>
                    </a:lnTo>
                    <a:lnTo>
                      <a:pt x="24" y="4"/>
                    </a:lnTo>
                    <a:lnTo>
                      <a:pt x="25" y="4"/>
                    </a:lnTo>
                    <a:lnTo>
                      <a:pt x="91" y="78"/>
                    </a:ln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346">
                <a:extLst>
                  <a:ext uri="{FF2B5EF4-FFF2-40B4-BE49-F238E27FC236}">
                    <a16:creationId xmlns:a16="http://schemas.microsoft.com/office/drawing/2014/main" xmlns="" id="{CB6F002D-DBCB-42F2-942D-CBB38710E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4622" y="5372470"/>
                <a:ext cx="138223" cy="128234"/>
              </a:xfrm>
              <a:custGeom>
                <a:avLst/>
                <a:gdLst>
                  <a:gd name="T0" fmla="*/ 0 w 82"/>
                  <a:gd name="T1" fmla="*/ 75 h 75"/>
                  <a:gd name="T2" fmla="*/ 57 w 82"/>
                  <a:gd name="T3" fmla="*/ 4 h 75"/>
                  <a:gd name="T4" fmla="*/ 57 w 82"/>
                  <a:gd name="T5" fmla="*/ 4 h 75"/>
                  <a:gd name="T6" fmla="*/ 61 w 82"/>
                  <a:gd name="T7" fmla="*/ 0 h 75"/>
                  <a:gd name="T8" fmla="*/ 81 w 82"/>
                  <a:gd name="T9" fmla="*/ 26 h 75"/>
                  <a:gd name="T10" fmla="*/ 82 w 82"/>
                  <a:gd name="T11" fmla="*/ 27 h 75"/>
                  <a:gd name="T12" fmla="*/ 82 w 82"/>
                  <a:gd name="T13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75">
                    <a:moveTo>
                      <a:pt x="0" y="75"/>
                    </a:moveTo>
                    <a:lnTo>
                      <a:pt x="57" y="4"/>
                    </a:lnTo>
                    <a:lnTo>
                      <a:pt x="57" y="4"/>
                    </a:lnTo>
                    <a:lnTo>
                      <a:pt x="61" y="0"/>
                    </a:lnTo>
                    <a:lnTo>
                      <a:pt x="81" y="26"/>
                    </a:lnTo>
                    <a:lnTo>
                      <a:pt x="82" y="27"/>
                    </a:lnTo>
                    <a:lnTo>
                      <a:pt x="82" y="27"/>
                    </a:ln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348">
                <a:extLst>
                  <a:ext uri="{FF2B5EF4-FFF2-40B4-BE49-F238E27FC236}">
                    <a16:creationId xmlns:a16="http://schemas.microsoft.com/office/drawing/2014/main" xmlns="" id="{982D6430-71EA-45BC-91C7-54CE8561B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6854" y="4787725"/>
                <a:ext cx="175307" cy="92328"/>
              </a:xfrm>
              <a:custGeom>
                <a:avLst/>
                <a:gdLst>
                  <a:gd name="T0" fmla="*/ 337 w 337"/>
                  <a:gd name="T1" fmla="*/ 168 h 176"/>
                  <a:gd name="T2" fmla="*/ 337 w 337"/>
                  <a:gd name="T3" fmla="*/ 176 h 176"/>
                  <a:gd name="T4" fmla="*/ 169 w 337"/>
                  <a:gd name="T5" fmla="*/ 137 h 176"/>
                  <a:gd name="T6" fmla="*/ 0 w 337"/>
                  <a:gd name="T7" fmla="*/ 176 h 176"/>
                  <a:gd name="T8" fmla="*/ 0 w 337"/>
                  <a:gd name="T9" fmla="*/ 168 h 176"/>
                  <a:gd name="T10" fmla="*/ 168 w 337"/>
                  <a:gd name="T11" fmla="*/ 0 h 176"/>
                  <a:gd name="T12" fmla="*/ 337 w 337"/>
                  <a:gd name="T13" fmla="*/ 16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7" h="176">
                    <a:moveTo>
                      <a:pt x="337" y="168"/>
                    </a:moveTo>
                    <a:cubicBezTo>
                      <a:pt x="337" y="171"/>
                      <a:pt x="337" y="174"/>
                      <a:pt x="337" y="176"/>
                    </a:cubicBezTo>
                    <a:cubicBezTo>
                      <a:pt x="287" y="151"/>
                      <a:pt x="229" y="137"/>
                      <a:pt x="169" y="137"/>
                    </a:cubicBezTo>
                    <a:cubicBezTo>
                      <a:pt x="108" y="137"/>
                      <a:pt x="50" y="151"/>
                      <a:pt x="0" y="176"/>
                    </a:cubicBezTo>
                    <a:cubicBezTo>
                      <a:pt x="0" y="174"/>
                      <a:pt x="0" y="171"/>
                      <a:pt x="0" y="168"/>
                    </a:cubicBezTo>
                    <a:cubicBezTo>
                      <a:pt x="0" y="75"/>
                      <a:pt x="75" y="0"/>
                      <a:pt x="168" y="0"/>
                    </a:cubicBezTo>
                    <a:cubicBezTo>
                      <a:pt x="262" y="0"/>
                      <a:pt x="337" y="75"/>
                      <a:pt x="337" y="168"/>
                    </a:cubicBezTo>
                    <a:close/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339">
                <a:extLst>
                  <a:ext uri="{FF2B5EF4-FFF2-40B4-BE49-F238E27FC236}">
                    <a16:creationId xmlns:a16="http://schemas.microsoft.com/office/drawing/2014/main" xmlns="" id="{80FE79CC-4E1E-40D7-A627-27161A49B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98973" y="5138230"/>
                <a:ext cx="43826" cy="71811"/>
              </a:xfrm>
              <a:custGeom>
                <a:avLst/>
                <a:gdLst>
                  <a:gd name="T0" fmla="*/ 83 w 83"/>
                  <a:gd name="T1" fmla="*/ 135 h 136"/>
                  <a:gd name="T2" fmla="*/ 69 w 83"/>
                  <a:gd name="T3" fmla="*/ 136 h 136"/>
                  <a:gd name="T4" fmla="*/ 0 w 83"/>
                  <a:gd name="T5" fmla="*/ 68 h 136"/>
                  <a:gd name="T6" fmla="*/ 65 w 83"/>
                  <a:gd name="T7" fmla="*/ 0 h 136"/>
                  <a:gd name="T8" fmla="*/ 83 w 83"/>
                  <a:gd name="T9" fmla="*/ 135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136">
                    <a:moveTo>
                      <a:pt x="83" y="135"/>
                    </a:moveTo>
                    <a:cubicBezTo>
                      <a:pt x="78" y="136"/>
                      <a:pt x="74" y="136"/>
                      <a:pt x="69" y="136"/>
                    </a:cubicBezTo>
                    <a:cubicBezTo>
                      <a:pt x="31" y="136"/>
                      <a:pt x="0" y="106"/>
                      <a:pt x="0" y="68"/>
                    </a:cubicBezTo>
                    <a:cubicBezTo>
                      <a:pt x="0" y="31"/>
                      <a:pt x="29" y="2"/>
                      <a:pt x="65" y="0"/>
                    </a:cubicBezTo>
                    <a:cubicBezTo>
                      <a:pt x="65" y="46"/>
                      <a:pt x="72" y="92"/>
                      <a:pt x="83" y="135"/>
                    </a:cubicBezTo>
                    <a:close/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340">
                <a:extLst>
                  <a:ext uri="{FF2B5EF4-FFF2-40B4-BE49-F238E27FC236}">
                    <a16:creationId xmlns:a16="http://schemas.microsoft.com/office/drawing/2014/main" xmlns="" id="{03B1328E-2503-4714-B8D7-6FAD2A775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6217" y="5138230"/>
                <a:ext cx="43826" cy="71811"/>
              </a:xfrm>
              <a:custGeom>
                <a:avLst/>
                <a:gdLst>
                  <a:gd name="T0" fmla="*/ 83 w 83"/>
                  <a:gd name="T1" fmla="*/ 68 h 136"/>
                  <a:gd name="T2" fmla="*/ 14 w 83"/>
                  <a:gd name="T3" fmla="*/ 136 h 136"/>
                  <a:gd name="T4" fmla="*/ 0 w 83"/>
                  <a:gd name="T5" fmla="*/ 135 h 136"/>
                  <a:gd name="T6" fmla="*/ 18 w 83"/>
                  <a:gd name="T7" fmla="*/ 0 h 136"/>
                  <a:gd name="T8" fmla="*/ 83 w 83"/>
                  <a:gd name="T9" fmla="*/ 6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136">
                    <a:moveTo>
                      <a:pt x="83" y="68"/>
                    </a:moveTo>
                    <a:cubicBezTo>
                      <a:pt x="83" y="106"/>
                      <a:pt x="52" y="136"/>
                      <a:pt x="14" y="136"/>
                    </a:cubicBezTo>
                    <a:cubicBezTo>
                      <a:pt x="9" y="136"/>
                      <a:pt x="5" y="136"/>
                      <a:pt x="0" y="135"/>
                    </a:cubicBezTo>
                    <a:cubicBezTo>
                      <a:pt x="11" y="92"/>
                      <a:pt x="18" y="46"/>
                      <a:pt x="18" y="0"/>
                    </a:cubicBezTo>
                    <a:cubicBezTo>
                      <a:pt x="54" y="2"/>
                      <a:pt x="83" y="31"/>
                      <a:pt x="83" y="68"/>
                    </a:cubicBezTo>
                    <a:close/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337">
                <a:extLst>
                  <a:ext uri="{FF2B5EF4-FFF2-40B4-BE49-F238E27FC236}">
                    <a16:creationId xmlns:a16="http://schemas.microsoft.com/office/drawing/2014/main" xmlns="" id="{6088631C-F51C-47A6-8DA9-1F835ABB6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2686" y="5133100"/>
                <a:ext cx="323643" cy="234240"/>
              </a:xfrm>
              <a:custGeom>
                <a:avLst/>
                <a:gdLst>
                  <a:gd name="T0" fmla="*/ 622 w 622"/>
                  <a:gd name="T1" fmla="*/ 0 h 444"/>
                  <a:gd name="T2" fmla="*/ 621 w 622"/>
                  <a:gd name="T3" fmla="*/ 10 h 444"/>
                  <a:gd name="T4" fmla="*/ 603 w 622"/>
                  <a:gd name="T5" fmla="*/ 145 h 444"/>
                  <a:gd name="T6" fmla="*/ 499 w 622"/>
                  <a:gd name="T7" fmla="*/ 349 h 444"/>
                  <a:gd name="T8" fmla="*/ 311 w 622"/>
                  <a:gd name="T9" fmla="*/ 444 h 444"/>
                  <a:gd name="T10" fmla="*/ 122 w 622"/>
                  <a:gd name="T11" fmla="*/ 349 h 444"/>
                  <a:gd name="T12" fmla="*/ 18 w 622"/>
                  <a:gd name="T13" fmla="*/ 145 h 444"/>
                  <a:gd name="T14" fmla="*/ 0 w 622"/>
                  <a:gd name="T15" fmla="*/ 10 h 444"/>
                  <a:gd name="T16" fmla="*/ 0 w 622"/>
                  <a:gd name="T17" fmla="*/ 0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2" h="444">
                    <a:moveTo>
                      <a:pt x="622" y="0"/>
                    </a:moveTo>
                    <a:cubicBezTo>
                      <a:pt x="622" y="3"/>
                      <a:pt x="621" y="6"/>
                      <a:pt x="621" y="10"/>
                    </a:cubicBezTo>
                    <a:cubicBezTo>
                      <a:pt x="621" y="56"/>
                      <a:pt x="614" y="102"/>
                      <a:pt x="603" y="145"/>
                    </a:cubicBezTo>
                    <a:cubicBezTo>
                      <a:pt x="582" y="224"/>
                      <a:pt x="546" y="295"/>
                      <a:pt x="499" y="349"/>
                    </a:cubicBezTo>
                    <a:cubicBezTo>
                      <a:pt x="447" y="408"/>
                      <a:pt x="381" y="444"/>
                      <a:pt x="311" y="444"/>
                    </a:cubicBezTo>
                    <a:cubicBezTo>
                      <a:pt x="240" y="444"/>
                      <a:pt x="174" y="408"/>
                      <a:pt x="122" y="349"/>
                    </a:cubicBezTo>
                    <a:cubicBezTo>
                      <a:pt x="75" y="295"/>
                      <a:pt x="39" y="224"/>
                      <a:pt x="18" y="145"/>
                    </a:cubicBezTo>
                    <a:cubicBezTo>
                      <a:pt x="7" y="102"/>
                      <a:pt x="0" y="56"/>
                      <a:pt x="0" y="10"/>
                    </a:cubicBezTo>
                    <a:cubicBezTo>
                      <a:pt x="0" y="6"/>
                      <a:pt x="0" y="3"/>
                      <a:pt x="0" y="0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347">
                <a:extLst>
                  <a:ext uri="{FF2B5EF4-FFF2-40B4-BE49-F238E27FC236}">
                    <a16:creationId xmlns:a16="http://schemas.microsoft.com/office/drawing/2014/main" xmlns="" id="{09727A54-8088-4154-97DE-9B5F2F003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2686" y="4965542"/>
                <a:ext cx="323643" cy="167558"/>
              </a:xfrm>
              <a:custGeom>
                <a:avLst/>
                <a:gdLst>
                  <a:gd name="T0" fmla="*/ 622 w 622"/>
                  <a:gd name="T1" fmla="*/ 316 h 316"/>
                  <a:gd name="T2" fmla="*/ 572 w 622"/>
                  <a:gd name="T3" fmla="*/ 232 h 316"/>
                  <a:gd name="T4" fmla="*/ 439 w 622"/>
                  <a:gd name="T5" fmla="*/ 0 h 316"/>
                  <a:gd name="T6" fmla="*/ 439 w 622"/>
                  <a:gd name="T7" fmla="*/ 0 h 316"/>
                  <a:gd name="T8" fmla="*/ 347 w 622"/>
                  <a:gd name="T9" fmla="*/ 81 h 316"/>
                  <a:gd name="T10" fmla="*/ 0 w 622"/>
                  <a:gd name="T11" fmla="*/ 316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2" h="316">
                    <a:moveTo>
                      <a:pt x="622" y="316"/>
                    </a:moveTo>
                    <a:cubicBezTo>
                      <a:pt x="611" y="290"/>
                      <a:pt x="593" y="251"/>
                      <a:pt x="572" y="232"/>
                    </a:cubicBezTo>
                    <a:cubicBezTo>
                      <a:pt x="429" y="104"/>
                      <a:pt x="439" y="0"/>
                      <a:pt x="439" y="0"/>
                    </a:cubicBezTo>
                    <a:cubicBezTo>
                      <a:pt x="439" y="0"/>
                      <a:pt x="439" y="0"/>
                      <a:pt x="439" y="0"/>
                    </a:cubicBezTo>
                    <a:cubicBezTo>
                      <a:pt x="423" y="29"/>
                      <a:pt x="395" y="60"/>
                      <a:pt x="347" y="81"/>
                    </a:cubicBezTo>
                    <a:cubicBezTo>
                      <a:pt x="250" y="125"/>
                      <a:pt x="70" y="173"/>
                      <a:pt x="0" y="316"/>
                    </a:cubicBezTo>
                  </a:path>
                </a:pathLst>
              </a:custGeom>
              <a:noFill/>
              <a:ln w="15875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Line 355">
                <a:extLst>
                  <a:ext uri="{FF2B5EF4-FFF2-40B4-BE49-F238E27FC236}">
                    <a16:creationId xmlns:a16="http://schemas.microsoft.com/office/drawing/2014/main" xmlns="" id="{088F1172-8AAE-4DA0-8B84-6B52A92C53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866641" y="5074967"/>
                <a:ext cx="91025" cy="0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Oval 349">
                <a:extLst>
                  <a:ext uri="{FF2B5EF4-FFF2-40B4-BE49-F238E27FC236}">
                    <a16:creationId xmlns:a16="http://schemas.microsoft.com/office/drawing/2014/main" xmlns="" id="{832953A2-9147-4C01-A25C-66C3E42C0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4499" y="5136519"/>
                <a:ext cx="25285" cy="29066"/>
              </a:xfrm>
              <a:prstGeom prst="ellipse">
                <a:avLst/>
              </a:prstGeom>
              <a:solidFill>
                <a:srgbClr val="1B1B1B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Oval 350">
                <a:extLst>
                  <a:ext uri="{FF2B5EF4-FFF2-40B4-BE49-F238E27FC236}">
                    <a16:creationId xmlns:a16="http://schemas.microsoft.com/office/drawing/2014/main" xmlns="" id="{D4BDECC0-DCE3-489E-892A-4DF2BF8F59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74522" y="5136519"/>
                <a:ext cx="23599" cy="29066"/>
              </a:xfrm>
              <a:prstGeom prst="ellipse">
                <a:avLst/>
              </a:prstGeom>
              <a:solidFill>
                <a:srgbClr val="1B1B1B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Freeform 351">
                <a:extLst>
                  <a:ext uri="{FF2B5EF4-FFF2-40B4-BE49-F238E27FC236}">
                    <a16:creationId xmlns:a16="http://schemas.microsoft.com/office/drawing/2014/main" xmlns="" id="{398C9987-3B65-41A7-8F64-6B443D2CC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68327" y="5256204"/>
                <a:ext cx="87654" cy="8549"/>
              </a:xfrm>
              <a:custGeom>
                <a:avLst/>
                <a:gdLst>
                  <a:gd name="T0" fmla="*/ 0 w 168"/>
                  <a:gd name="T1" fmla="*/ 0 h 17"/>
                  <a:gd name="T2" fmla="*/ 84 w 168"/>
                  <a:gd name="T3" fmla="*/ 17 h 17"/>
                  <a:gd name="T4" fmla="*/ 168 w 168"/>
                  <a:gd name="T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8" h="17">
                    <a:moveTo>
                      <a:pt x="0" y="0"/>
                    </a:moveTo>
                    <a:cubicBezTo>
                      <a:pt x="14" y="9"/>
                      <a:pt x="46" y="17"/>
                      <a:pt x="84" y="17"/>
                    </a:cubicBezTo>
                    <a:cubicBezTo>
                      <a:pt x="121" y="17"/>
                      <a:pt x="153" y="9"/>
                      <a:pt x="168" y="0"/>
                    </a:cubicBezTo>
                  </a:path>
                </a:pathLst>
              </a:cu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Freeform 352">
                <a:extLst>
                  <a:ext uri="{FF2B5EF4-FFF2-40B4-BE49-F238E27FC236}">
                    <a16:creationId xmlns:a16="http://schemas.microsoft.com/office/drawing/2014/main" xmlns="" id="{3ADBC765-0745-49B6-909D-6B007E84E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6983" y="5211750"/>
                <a:ext cx="30342" cy="6839"/>
              </a:xfrm>
              <a:custGeom>
                <a:avLst/>
                <a:gdLst>
                  <a:gd name="T0" fmla="*/ 0 w 57"/>
                  <a:gd name="T1" fmla="*/ 0 h 12"/>
                  <a:gd name="T2" fmla="*/ 29 w 57"/>
                  <a:gd name="T3" fmla="*/ 12 h 12"/>
                  <a:gd name="T4" fmla="*/ 57 w 5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12">
                    <a:moveTo>
                      <a:pt x="0" y="0"/>
                    </a:moveTo>
                    <a:cubicBezTo>
                      <a:pt x="5" y="7"/>
                      <a:pt x="16" y="12"/>
                      <a:pt x="29" y="12"/>
                    </a:cubicBezTo>
                    <a:cubicBezTo>
                      <a:pt x="41" y="12"/>
                      <a:pt x="52" y="7"/>
                      <a:pt x="57" y="0"/>
                    </a:cubicBezTo>
                  </a:path>
                </a:pathLst>
              </a:cu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353">
                <a:extLst>
                  <a:ext uri="{FF2B5EF4-FFF2-40B4-BE49-F238E27FC236}">
                    <a16:creationId xmlns:a16="http://schemas.microsoft.com/office/drawing/2014/main" xmlns="" id="{8E727C87-1A21-4A83-9D23-3A51FDFEB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1925" y="5280140"/>
                <a:ext cx="40455" cy="5130"/>
              </a:xfrm>
              <a:custGeom>
                <a:avLst/>
                <a:gdLst>
                  <a:gd name="T0" fmla="*/ 0 w 79"/>
                  <a:gd name="T1" fmla="*/ 0 h 8"/>
                  <a:gd name="T2" fmla="*/ 40 w 79"/>
                  <a:gd name="T3" fmla="*/ 8 h 8"/>
                  <a:gd name="T4" fmla="*/ 79 w 79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8">
                    <a:moveTo>
                      <a:pt x="0" y="0"/>
                    </a:moveTo>
                    <a:cubicBezTo>
                      <a:pt x="7" y="5"/>
                      <a:pt x="22" y="8"/>
                      <a:pt x="40" y="8"/>
                    </a:cubicBezTo>
                    <a:cubicBezTo>
                      <a:pt x="57" y="8"/>
                      <a:pt x="73" y="5"/>
                      <a:pt x="79" y="0"/>
                    </a:cubicBezTo>
                  </a:path>
                </a:pathLst>
              </a:cu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Line 354">
                <a:extLst>
                  <a:ext uri="{FF2B5EF4-FFF2-40B4-BE49-F238E27FC236}">
                    <a16:creationId xmlns:a16="http://schemas.microsoft.com/office/drawing/2014/main" xmlns="" id="{D2F4C0C8-0FF2-47AE-A984-6E5CA42B0C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859899" y="5104034"/>
                <a:ext cx="102824" cy="0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Line 356">
                <a:extLst>
                  <a:ext uri="{FF2B5EF4-FFF2-40B4-BE49-F238E27FC236}">
                    <a16:creationId xmlns:a16="http://schemas.microsoft.com/office/drawing/2014/main" xmlns="" id="{85048A8E-1A06-4317-9F14-1FE4419186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72837" y="5165586"/>
                <a:ext cx="26971" cy="0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Line 357">
                <a:extLst>
                  <a:ext uri="{FF2B5EF4-FFF2-40B4-BE49-F238E27FC236}">
                    <a16:creationId xmlns:a16="http://schemas.microsoft.com/office/drawing/2014/main" xmlns="" id="{691147CC-5D4E-4ABD-85E7-A6C2ACFF00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24499" y="5165586"/>
                <a:ext cx="26971" cy="0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Line 358">
                <a:extLst>
                  <a:ext uri="{FF2B5EF4-FFF2-40B4-BE49-F238E27FC236}">
                    <a16:creationId xmlns:a16="http://schemas.microsoft.com/office/drawing/2014/main" xmlns="" id="{9844F76C-881F-40FC-AE2E-B1E7A228CD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99806" y="5157037"/>
                <a:ext cx="16857" cy="8549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Line 359">
                <a:extLst>
                  <a:ext uri="{FF2B5EF4-FFF2-40B4-BE49-F238E27FC236}">
                    <a16:creationId xmlns:a16="http://schemas.microsoft.com/office/drawing/2014/main" xmlns="" id="{C6F10D83-D0ED-44B5-A3DE-3BB5CD5AE4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9806" y="5165586"/>
                <a:ext cx="16857" cy="6839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Line 360">
                <a:extLst>
                  <a:ext uri="{FF2B5EF4-FFF2-40B4-BE49-F238E27FC236}">
                    <a16:creationId xmlns:a16="http://schemas.microsoft.com/office/drawing/2014/main" xmlns="" id="{8315BA45-4B21-4BE5-838E-FDFA8DBA6F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805958" y="5157037"/>
                <a:ext cx="16857" cy="8549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Line 361">
                <a:extLst>
                  <a:ext uri="{FF2B5EF4-FFF2-40B4-BE49-F238E27FC236}">
                    <a16:creationId xmlns:a16="http://schemas.microsoft.com/office/drawing/2014/main" xmlns="" id="{7EF636B3-20C1-402A-AC47-F893CCBD83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805958" y="5165586"/>
                <a:ext cx="16857" cy="6839"/>
              </a:xfrm>
              <a:prstGeom prst="line">
                <a:avLst/>
              </a:prstGeom>
              <a:noFill/>
              <a:ln w="11113" cap="rnd">
                <a:solidFill>
                  <a:srgbClr val="670F3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79" name="TextBox 278">
            <a:extLst>
              <a:ext uri="{FF2B5EF4-FFF2-40B4-BE49-F238E27FC236}">
                <a16:creationId xmlns:a16="http://schemas.microsoft.com/office/drawing/2014/main" xmlns="" id="{9FE07F36-B333-4020-9A88-813DF30FACBF}"/>
              </a:ext>
            </a:extLst>
          </p:cNvPr>
          <p:cNvSpPr txBox="1"/>
          <p:nvPr/>
        </p:nvSpPr>
        <p:spPr>
          <a:xfrm>
            <a:off x="173038" y="1146080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FF0000"/>
                </a:solidFill>
              </a:rPr>
              <a:t>10%</a:t>
            </a:r>
            <a:r>
              <a:rPr lang="en-US" sz="2800" b="1" dirty="0">
                <a:solidFill>
                  <a:srgbClr val="575757"/>
                </a:solidFill>
              </a:rPr>
              <a:t> of India's population accounts for </a:t>
            </a:r>
            <a:r>
              <a:rPr lang="en-US" sz="3200" b="1" dirty="0">
                <a:solidFill>
                  <a:srgbClr val="FF0000"/>
                </a:solidFill>
              </a:rPr>
              <a:t>53%</a:t>
            </a:r>
            <a:r>
              <a:rPr lang="en-US" sz="2800" b="1" dirty="0">
                <a:solidFill>
                  <a:srgbClr val="575757"/>
                </a:solidFill>
              </a:rPr>
              <a:t> of India's Covid-19 linked deaths</a:t>
            </a:r>
          </a:p>
          <a:p>
            <a:pPr algn="ctr"/>
            <a:endParaRPr lang="en-US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2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QkrzWxwqLGgcVq.Ho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OXyt46pUFoE1ni44XZ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AKZJfsEiVGX21HuW6J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A52lx5dTumtjcc7Qrl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NCwaXf8Dih6kWXkpmI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pmxP.ZJwj.5FFE4GCJ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1PgM6Ssa7U3LqdfI12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c6HsgJOBTkbDnGbtJ6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iJooQDEjK2ycxSMMYE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I_XLYfkmdgLerBfCG6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.1cvIXzHSHiG8pwJ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E0ugnvUTV.j6wVzAD2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.Kkiq0NYJfW1esoqo2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UxV4T_ONLaTOQqiLV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cdajMbcmUZa1dt6tdd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2bv4qHa963ACqCReHO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uc_fzTb2zsiWJcDP4J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dX3tjyqzOJ8eOb8_yx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FKpV2xjex.Zr3A.cu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XEv4z_cVvKOE.UCznc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QkrzWxwqLGgcVq.Ho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FasK.SKRgTDefKiwX9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E0ugnvUTV.j6wVzAD2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.Kkiq0NYJfW1esoqo2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cdajMbcmUZa1dt6tdd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UxV4T_ONLaTOQqiLV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2bv4qHa963ACqCReHO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uc_fzTb2zsiWJcDP4J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dX3tjyqzOJ8eOb8_yx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gFKpV2xjex.Zr3A.cu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S9cjV50lN5V8YjuWL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F7rQwB5Ig1Qwx5T.vA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FasK.SKRgTDefKiwX9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ejU7H6DcB4kzkRNLj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OQWxw.wBosJUhWGYhN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0</TotalTime>
  <Words>231</Words>
  <Application>Microsoft Office PowerPoint</Application>
  <PresentationFormat>Widescreen</PresentationFormat>
  <Paragraphs>69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Gill Sans MT</vt:lpstr>
      <vt:lpstr>Office Theme</vt:lpstr>
      <vt:lpstr>1_Office Theme</vt:lpstr>
      <vt:lpstr>2_Office Theme</vt:lpstr>
      <vt:lpstr>think-cell Slide</vt:lpstr>
      <vt:lpstr>Government of India PIB  Press Briefing</vt:lpstr>
      <vt:lpstr>India is the second most populous country of the world</vt:lpstr>
      <vt:lpstr>Cases per Million Population - Amongst the Lowest in the World </vt:lpstr>
      <vt:lpstr>Death per Million Population - Amongst the Lowest in the World </vt:lpstr>
      <vt:lpstr>Active &amp; Recovered Cases – Progressive Increase in Recoveries</vt:lpstr>
      <vt:lpstr>Active &amp; Recovered Cases – Recoveries 1.75 times Active Cases</vt:lpstr>
      <vt:lpstr>Rising Recovery Rate</vt:lpstr>
      <vt:lpstr>Covid-19 deaths in India vs Population</vt:lpstr>
      <vt:lpstr>Covid-19 deaths in India vs Popul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 22 Districts</dc:title>
  <dc:creator>Himanshu Burad</dc:creator>
  <cp:lastModifiedBy>Himanshu Burad</cp:lastModifiedBy>
  <cp:revision>242</cp:revision>
  <cp:lastPrinted>2020-07-09T08:28:47Z</cp:lastPrinted>
  <dcterms:created xsi:type="dcterms:W3CDTF">2020-05-18T14:02:40Z</dcterms:created>
  <dcterms:modified xsi:type="dcterms:W3CDTF">2020-07-09T08:4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5-15T00:00:00Z</vt:filetime>
  </property>
  <property fmtid="{D5CDD505-2E9C-101B-9397-08002B2CF9AE}" pid="3" name="Creator">
    <vt:lpwstr>Microsoft® PowerPoint® for Office 365</vt:lpwstr>
  </property>
  <property fmtid="{D5CDD505-2E9C-101B-9397-08002B2CF9AE}" pid="4" name="LastSaved">
    <vt:filetime>2020-05-18T00:00:00Z</vt:filetime>
  </property>
</Properties>
</file>